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60" r:id="rId4"/>
  </p:sldMasterIdLst>
  <p:notesMasterIdLst>
    <p:notesMasterId r:id="rId14"/>
  </p:notesMasterIdLst>
  <p:sldIdLst>
    <p:sldId id="414" r:id="rId5"/>
    <p:sldId id="451" r:id="rId6"/>
    <p:sldId id="452" r:id="rId7"/>
    <p:sldId id="453" r:id="rId8"/>
    <p:sldId id="454" r:id="rId9"/>
    <p:sldId id="455" r:id="rId10"/>
    <p:sldId id="456" r:id="rId11"/>
    <p:sldId id="457" r:id="rId12"/>
    <p:sldId id="458" r:id="rId13"/>
  </p:sldIdLst>
  <p:sldSz cx="12192000" cy="6858000"/>
  <p:notesSz cx="6858000" cy="9144000"/>
  <p:embeddedFontLst>
    <p:embeddedFont>
      <p:font typeface="Elevance Sans" pitchFamily="50" charset="0"/>
      <p:regular r:id="rId15"/>
      <p:bold r:id="rId16"/>
      <p:italic r:id="rId17"/>
      <p:boldItalic r:id="rId18"/>
    </p:embeddedFont>
    <p:embeddedFont>
      <p:font typeface="Elevance Sans Italic" panose="020B0604020202020204" charset="0"/>
      <p:bold r:id="rId19"/>
      <p:italic r:id="rId20"/>
      <p:boldItalic r:id="rId21"/>
    </p:embeddedFont>
    <p:embeddedFont>
      <p:font typeface="Elevance Sans Medium" pitchFamily="50" charset="0"/>
      <p:regular r:id="rId22"/>
      <p:italic r:id="rId23"/>
    </p:embeddedFont>
  </p:embeddedFontLst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4AB31C7-495C-E0B4-754D-BEB52653A0B6}" name="Guest User" initials="GU" userId="S::urn:spo:anon#b8d1c180406f60aa8d48cf3098e554ab10991fc21ec9e43f3a8ebfb31c4e1f1e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5053"/>
  </p:normalViewPr>
  <p:slideViewPr>
    <p:cSldViewPr snapToGrid="0" snapToObjects="1">
      <p:cViewPr varScale="1">
        <p:scale>
          <a:sx n="63" d="100"/>
          <a:sy n="63" d="100"/>
        </p:scale>
        <p:origin x="804" y="56"/>
      </p:cViewPr>
      <p:guideLst/>
    </p:cSldViewPr>
  </p:slideViewPr>
  <p:outlineViewPr>
    <p:cViewPr>
      <p:scale>
        <a:sx n="33" d="100"/>
        <a:sy n="33" d="100"/>
      </p:scale>
      <p:origin x="0" y="-517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4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169704135288953"/>
          <c:y val="7.3722531024475513E-2"/>
          <c:w val="0.62606226930495001"/>
          <c:h val="0.75868663701991956"/>
        </c:manualLayout>
      </c:layout>
      <c:pie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Elevance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Elevance Sans" pitchFamily="2" charset="77"/>
              </a:defRPr>
            </a:lvl1pPr>
          </a:lstStyle>
          <a:p>
            <a:fld id="{40C36D6C-D64D-5C49-BA05-1247137E2D8B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Elevance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Elevance Sans" pitchFamily="2" charset="77"/>
              </a:defRPr>
            </a:lvl1pPr>
          </a:lstStyle>
          <a:p>
            <a:fld id="{FF050AAF-C99E-5E47-BF9E-3FBCE85A751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8456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Elevance Sans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Elevance Sans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Elevance Sans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Elevance Sans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Elevance Sans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Arial" charset="0"/>
                <a:ea typeface="Arial" charset="0"/>
                <a:cs typeface="Arial" charset="0"/>
              </a:rPr>
              <a:t>How to change Photos in this</a:t>
            </a:r>
            <a:r>
              <a:rPr lang="en-US" baseline="0" dirty="0">
                <a:latin typeface="Arial" charset="0"/>
                <a:ea typeface="Arial" charset="0"/>
                <a:cs typeface="Arial" charset="0"/>
              </a:rPr>
              <a:t> PPT: </a:t>
            </a:r>
          </a:p>
          <a:p>
            <a:endParaRPr lang="en-US" dirty="0">
              <a:latin typeface="Arial" charset="0"/>
              <a:ea typeface="Arial" charset="0"/>
              <a:cs typeface="Arial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Select</a:t>
            </a:r>
            <a:r>
              <a:rPr lang="en-US" baseline="0" dirty="0">
                <a:latin typeface="Arial" charset="0"/>
                <a:ea typeface="Arial" charset="0"/>
                <a:cs typeface="Arial" charset="0"/>
              </a:rPr>
              <a:t> photo</a:t>
            </a:r>
          </a:p>
          <a:p>
            <a:pPr marL="457200" indent="-457200">
              <a:buFont typeface="+mj-lt"/>
              <a:buAutoNum type="arabicPeriod"/>
            </a:pPr>
            <a:r>
              <a:rPr lang="en-US" baseline="0" dirty="0">
                <a:latin typeface="Arial" charset="0"/>
                <a:ea typeface="Arial" charset="0"/>
                <a:cs typeface="Arial" charset="0"/>
              </a:rPr>
              <a:t>Right click &gt; Format Picture</a:t>
            </a:r>
          </a:p>
          <a:p>
            <a:pPr marL="457200" indent="-457200">
              <a:buFont typeface="+mj-lt"/>
              <a:buAutoNum type="arabicPeriod"/>
            </a:pPr>
            <a:r>
              <a:rPr lang="en-US" baseline="0" dirty="0">
                <a:latin typeface="Arial" charset="0"/>
                <a:ea typeface="Arial" charset="0"/>
                <a:cs typeface="Arial" charset="0"/>
              </a:rPr>
              <a:t>Select Fill &gt; Picture or Texture fill</a:t>
            </a:r>
          </a:p>
          <a:p>
            <a:pPr marL="457200" indent="-457200">
              <a:buFont typeface="+mj-lt"/>
              <a:buAutoNum type="arabicPeriod"/>
            </a:pPr>
            <a:r>
              <a:rPr lang="en-US" baseline="0" dirty="0">
                <a:latin typeface="Arial" charset="0"/>
                <a:ea typeface="Arial" charset="0"/>
                <a:cs typeface="Arial" charset="0"/>
              </a:rPr>
              <a:t>Select replacement photo from desired destination</a:t>
            </a:r>
          </a:p>
          <a:p>
            <a:pPr marL="457200" marR="0" lvl="0" indent="-45720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400" b="1" i="0" u="none" strike="noStrike" kern="1200" dirty="0">
                <a:solidFill>
                  <a:schemeClr val="tx1"/>
                </a:solidFill>
                <a:effectLst/>
                <a:latin typeface="Arial Regular" charset="0"/>
                <a:ea typeface="+mn-ea"/>
                <a:cs typeface="+mn-cs"/>
              </a:rPr>
              <a:t>To resize: </a:t>
            </a:r>
            <a:r>
              <a:rPr lang="en-US" sz="2400" b="0" i="0" u="none" strike="noStrike" kern="1200" dirty="0">
                <a:solidFill>
                  <a:schemeClr val="tx1"/>
                </a:solidFill>
                <a:effectLst/>
                <a:latin typeface="Arial Regular" charset="0"/>
                <a:ea typeface="+mn-ea"/>
                <a:cs typeface="+mn-cs"/>
              </a:rPr>
              <a:t>Select Format Picture &gt; Crop &gt; Fill . Then you can position and resize the source photo as needed using white anchor points around the gray box.</a:t>
            </a:r>
            <a:endParaRPr lang="en-US" baseline="0" dirty="0">
              <a:latin typeface="Arial" charset="0"/>
              <a:ea typeface="Arial" charset="0"/>
              <a:cs typeface="Arial" charset="0"/>
            </a:endParaRPr>
          </a:p>
          <a:p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056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4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5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17.svg"/><Relationship Id="rId5" Type="http://schemas.openxmlformats.org/officeDocument/2006/relationships/image" Target="../media/image12.png"/><Relationship Id="rId4" Type="http://schemas.openxmlformats.org/officeDocument/2006/relationships/image" Target="../media/image1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18.svg"/><Relationship Id="rId5" Type="http://schemas.openxmlformats.org/officeDocument/2006/relationships/image" Target="../media/image12.png"/><Relationship Id="rId4" Type="http://schemas.openxmlformats.org/officeDocument/2006/relationships/image" Target="../media/image1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4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18.svg"/><Relationship Id="rId5" Type="http://schemas.openxmlformats.org/officeDocument/2006/relationships/image" Target="../media/image12.png"/><Relationship Id="rId4" Type="http://schemas.openxmlformats.org/officeDocument/2006/relationships/image" Target="../media/image16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9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03806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E4F9BAEB-A94F-439F-B9CE-0030334E1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5089" y="4517136"/>
            <a:ext cx="5638800" cy="228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1FF0BD0F-29F1-5746-9751-EC930E120D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089" y="4758997"/>
            <a:ext cx="5638800" cy="2245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sz="1800" i="0" dirty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2A56EB4-D385-CA47-98BE-9B9C64B5BD7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5089" y="2587226"/>
            <a:ext cx="8349500" cy="1567689"/>
          </a:xfrm>
        </p:spPr>
        <p:txBody>
          <a:bodyPr vert="horz" anchor="b" anchorCtr="0"/>
          <a:lstStyle>
            <a:lvl1pPr algn="l"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6BE3430-6BAC-4F1E-03E0-39D1B7DE2C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6061" y="578755"/>
            <a:ext cx="1786364" cy="4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3785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urple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6710D8F-0C63-AC41-AED8-7250F0DC1B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509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6710D8F-0C63-AC41-AED8-7250F0DC1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793E11-CA7F-4409-AF5F-4334AE726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FC1E18-3994-4821-BBED-2E435EACD9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199" y="1694048"/>
            <a:ext cx="11274552" cy="431305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 lang="en-US" dirty="0">
                <a:solidFill>
                  <a:schemeClr val="bg1"/>
                </a:solidFill>
              </a:defRPr>
            </a:lvl2pPr>
            <a:lvl3pPr>
              <a:defRPr lang="en-US" dirty="0">
                <a:solidFill>
                  <a:schemeClr val="bg1"/>
                </a:solidFill>
              </a:defRPr>
            </a:lvl3pPr>
            <a:lvl4pPr>
              <a:defRPr lang="en-US" dirty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D28C7D-8653-A64D-9D01-E67E0D43199F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1129BB6-0921-694D-A4A8-DD9B3AD0260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1DA31F3-BA6F-D5D4-B1BD-B2DDB0FD2D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4383178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3454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237868D-9B84-AE4F-B833-8E8C7F5852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E5EBD5-3136-174B-831A-04B8DF69E5D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7199" y="1691640"/>
            <a:ext cx="5529263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A1E52CE3-22DF-5A41-9EAD-D5575B3917A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15063" y="1691640"/>
            <a:ext cx="5529263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8D6001F-20E3-BCD0-83D6-DA5BCD046B3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04751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06909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581CAC1E-A9D0-C348-9CA5-ACB7F2A85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1127455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1D2708C-3271-2FCA-8488-B4E32633A75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98245B66-1B28-18AA-69E6-34BD6F46C0B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7200" y="2819236"/>
            <a:ext cx="3609976" cy="303267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5A7F8315-1C9F-53AD-C8F8-38B56B900CE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95273" y="2819236"/>
            <a:ext cx="3609976" cy="303267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80DB9B63-F7FD-9B20-7D67-464722501F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33346" y="2819236"/>
            <a:ext cx="3598406" cy="303267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77C2523-960C-4A32-FFAE-78F1131617B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8730" y="1744663"/>
            <a:ext cx="914400" cy="914400"/>
          </a:xfrm>
        </p:spPr>
        <p:txBody>
          <a:bodyPr/>
          <a:lstStyle/>
          <a:p>
            <a:r>
              <a:rPr lang="en-US" dirty="0"/>
              <a:t>icon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5A38D4E5-09B8-07BF-7CDE-383FE0846D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26803" y="1744663"/>
            <a:ext cx="914400" cy="914400"/>
          </a:xfrm>
        </p:spPr>
        <p:txBody>
          <a:bodyPr/>
          <a:lstStyle/>
          <a:p>
            <a:r>
              <a:rPr lang="en-US" dirty="0"/>
              <a:t>icon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D13936-FBD2-24B2-49D9-0A7CB9E52C5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64876" y="1744663"/>
            <a:ext cx="914400" cy="914400"/>
          </a:xfrm>
        </p:spPr>
        <p:txBody>
          <a:bodyPr/>
          <a:lstStyle/>
          <a:p>
            <a:r>
              <a:rPr lang="en-US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1073045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01731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E4186CE-9B9E-5841-BFD2-4B0A423A8D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11274552" cy="82296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385E59-9CC5-9871-4EB1-B364647AAFA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5443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89E427DA-4D2F-C091-BBC3-51007DCBA33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48289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93994B7-A0C7-265E-120E-98F5D065341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21135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D44DF59-6C6E-B941-C523-A61E7A097C9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093980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1E44A2A-FBF2-963D-9B1C-7C7E900CC84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1016313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AA6C2B6-0EBC-1BB7-9224-5AA69323802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435559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Up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C6E06F0-2580-5A49-98CA-34E91A0D2C89}"/>
              </a:ext>
            </a:extLst>
          </p:cNvPr>
          <p:cNvCxnSpPr>
            <a:cxnSpLocks/>
          </p:cNvCxnSpPr>
          <p:nvPr userDrawn="1"/>
        </p:nvCxnSpPr>
        <p:spPr>
          <a:xfrm>
            <a:off x="6099533" y="1677410"/>
            <a:ext cx="0" cy="1871189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B9996DA-4693-AF44-A11B-9EE0B94D1690}"/>
              </a:ext>
            </a:extLst>
          </p:cNvPr>
          <p:cNvCxnSpPr>
            <a:cxnSpLocks/>
          </p:cNvCxnSpPr>
          <p:nvPr userDrawn="1"/>
        </p:nvCxnSpPr>
        <p:spPr>
          <a:xfrm>
            <a:off x="6099533" y="4014884"/>
            <a:ext cx="0" cy="1871189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F416A43-9211-2E49-BAB8-1BD8D9816424}"/>
              </a:ext>
            </a:extLst>
          </p:cNvPr>
          <p:cNvCxnSpPr/>
          <p:nvPr userDrawn="1"/>
        </p:nvCxnSpPr>
        <p:spPr>
          <a:xfrm flipH="1">
            <a:off x="457200" y="3781741"/>
            <a:ext cx="545915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85D7B38-0887-2F46-8E24-5542606312A7}"/>
              </a:ext>
            </a:extLst>
          </p:cNvPr>
          <p:cNvCxnSpPr/>
          <p:nvPr userDrawn="1"/>
        </p:nvCxnSpPr>
        <p:spPr>
          <a:xfrm flipH="1">
            <a:off x="6282717" y="3781741"/>
            <a:ext cx="545915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849FDE5-105E-BE4B-A853-CB71E61713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2497" y="2223070"/>
            <a:ext cx="1329714" cy="983745"/>
          </a:xfrm>
        </p:spPr>
        <p:txBody>
          <a:bodyPr/>
          <a:lstStyle>
            <a:lvl1pPr>
              <a:defRPr sz="6800" b="0" i="0">
                <a:solidFill>
                  <a:schemeClr val="accent2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206106F-2A33-A745-A741-D61DB0867B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21980" y="2223070"/>
            <a:ext cx="1329714" cy="983745"/>
          </a:xfrm>
        </p:spPr>
        <p:txBody>
          <a:bodyPr/>
          <a:lstStyle>
            <a:lvl1pPr>
              <a:defRPr sz="6800" b="0" i="0">
                <a:solidFill>
                  <a:schemeClr val="accent2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A8E7582B-02F1-674F-A5A3-E9BC144DBB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497" y="4302882"/>
            <a:ext cx="1329714" cy="983745"/>
          </a:xfrm>
        </p:spPr>
        <p:txBody>
          <a:bodyPr/>
          <a:lstStyle>
            <a:lvl1pPr>
              <a:defRPr sz="6800" b="0" i="0">
                <a:solidFill>
                  <a:schemeClr val="accent2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5BDF288F-53B9-154C-9319-69499F536D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21980" y="4302882"/>
            <a:ext cx="1329714" cy="983745"/>
          </a:xfrm>
        </p:spPr>
        <p:txBody>
          <a:bodyPr/>
          <a:lstStyle>
            <a:lvl1pPr>
              <a:defRPr sz="6800" b="0" i="0">
                <a:solidFill>
                  <a:schemeClr val="accent2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AF18322-8B69-3541-84FE-64063D8B61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31850" y="2307195"/>
            <a:ext cx="3273131" cy="833490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 marL="12700" indent="0">
              <a:spcBef>
                <a:spcPts val="0"/>
              </a:spcBef>
              <a:tabLst/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57A54F8C-EE30-B641-981C-F412969961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70043" y="2307195"/>
            <a:ext cx="3273131" cy="833490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E20B307F-7584-6E44-A9BF-B92167B86D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31850" y="4413901"/>
            <a:ext cx="3273131" cy="833490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243BEEFB-1A86-4945-8F20-66E3C9ADFB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0043" y="4413901"/>
            <a:ext cx="3273131" cy="833490"/>
          </a:xfrm>
        </p:spPr>
        <p:txBody>
          <a:bodyPr/>
          <a:lstStyle>
            <a:lvl1pPr>
              <a:spcBef>
                <a:spcPts val="0"/>
              </a:spcBef>
              <a:defRPr sz="1400"/>
            </a:lvl1pPr>
            <a:lvl2pPr>
              <a:spcBef>
                <a:spcPts val="0"/>
              </a:spcBef>
              <a:defRPr sz="14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503FAA8-E853-BE6B-88EB-6E22E2A1682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3879233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U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675797-F0AF-7D47-B826-B1C69AB2E37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" y="1737622"/>
            <a:ext cx="5605272" cy="2092698"/>
          </a:xfrm>
          <a:solidFill>
            <a:schemeClr val="bg2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7F6EDBC3-168B-CF46-BFC4-E8C95CFB34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26480" y="1737622"/>
            <a:ext cx="5605272" cy="2092698"/>
          </a:xfrm>
          <a:solidFill>
            <a:schemeClr val="bg2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CE2A664-C16E-5147-9B30-8AD5A22398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7200" y="3905766"/>
            <a:ext cx="5605272" cy="2092698"/>
          </a:xfrm>
          <a:solidFill>
            <a:schemeClr val="bg2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61CE08F7-4DC1-5549-B0ED-CCB370F612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26480" y="3905766"/>
            <a:ext cx="5605272" cy="2092698"/>
          </a:xfrm>
          <a:solidFill>
            <a:schemeClr val="bg2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57A54F8C-EE30-B641-981C-F4129699618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90868" y="2311643"/>
            <a:ext cx="4183320" cy="1049059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AF18322-8B69-3541-84FE-64063D8B61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7498" y="2311643"/>
            <a:ext cx="4183320" cy="1049059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E20B307F-7584-6E44-A9BF-B92167B86D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97498" y="4471056"/>
            <a:ext cx="4183320" cy="1049059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243BEEFB-1A86-4945-8F20-66E3C9ADFB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90868" y="4471056"/>
            <a:ext cx="4183320" cy="1049059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400"/>
            </a:lvl3pPr>
            <a:lvl4pPr>
              <a:spcBef>
                <a:spcPts val="0"/>
              </a:spcBef>
              <a:defRPr sz="1400"/>
            </a:lvl4pPr>
            <a:lvl5pPr>
              <a:spcBef>
                <a:spcPts val="0"/>
              </a:spcBef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8FE7E3D-9922-82D1-1CE1-8470DC53770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5967934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U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875F6157-AD74-F941-B422-39879433209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684391" y="1737621"/>
            <a:ext cx="2327987" cy="4269479"/>
          </a:xfrm>
          <a:solidFill>
            <a:srgbClr val="F5F5F5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0B9D8E76-D2A2-5648-B2DB-A62CD2D6A6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044077" y="1737621"/>
            <a:ext cx="2327987" cy="4269479"/>
          </a:xfrm>
          <a:solidFill>
            <a:srgbClr val="F5F5F5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20492DC6-9657-A84D-AA7B-58D54CBB7A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03763" y="1737621"/>
            <a:ext cx="2327987" cy="4269479"/>
          </a:xfrm>
          <a:solidFill>
            <a:srgbClr val="F5F5F5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7C67F79F-A16B-8F48-A460-2D06F52DCC6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275725" y="2629502"/>
            <a:ext cx="1802369" cy="2976168"/>
          </a:xfrm>
        </p:spPr>
        <p:txBody>
          <a:bodyPr/>
          <a:lstStyle>
            <a:lvl1pPr>
              <a:defRPr sz="1400" b="0" i="0"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09F171-D2FC-724F-A2F1-83AC74A0C4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939795" y="2629502"/>
            <a:ext cx="1802369" cy="2976168"/>
          </a:xfrm>
        </p:spPr>
        <p:txBody>
          <a:bodyPr/>
          <a:lstStyle>
            <a:lvl1pPr>
              <a:defRPr sz="1400" b="0" i="0"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0886DACC-8B94-1049-99F5-38D402063D4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642278" y="2629502"/>
            <a:ext cx="1802369" cy="2976168"/>
          </a:xfrm>
        </p:spPr>
        <p:txBody>
          <a:bodyPr/>
          <a:lstStyle>
            <a:lvl1pPr>
              <a:defRPr sz="1400" b="0" i="0"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7FDE759B-B6F2-3D4A-9BFA-89DFE264469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200" y="1737621"/>
            <a:ext cx="4195492" cy="4269479"/>
          </a:xfrm>
          <a:solidFill>
            <a:schemeClr val="accent1"/>
          </a:solidFill>
        </p:spPr>
        <p:txBody>
          <a:bodyPr/>
          <a:lstStyle>
            <a:lvl1pPr>
              <a:defRPr sz="100" b="0" i="0">
                <a:solidFill>
                  <a:schemeClr val="bg2">
                    <a:alpha val="0"/>
                  </a:schemeClr>
                </a:solidFill>
                <a:latin typeface="Elevance Sans" pitchFamily="2" charset="77"/>
                <a:cs typeface="Elevance Sans" pitchFamily="2" charset="0"/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13370B3-825E-D34B-8FDF-7533F97F3B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5601" y="1948308"/>
            <a:ext cx="1652266" cy="268434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5E27056C-29C0-2045-816E-9E902F2F596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09237" y="1948308"/>
            <a:ext cx="1652266" cy="268434"/>
          </a:xfrm>
        </p:spPr>
        <p:txBody>
          <a:bodyPr/>
          <a:lstStyle>
            <a:lvl1pPr>
              <a:defRPr sz="1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50958210-96E8-1E49-B317-7E8680A7B0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75725" y="1948308"/>
            <a:ext cx="1652266" cy="268434"/>
          </a:xfrm>
        </p:spPr>
        <p:txBody>
          <a:bodyPr/>
          <a:lstStyle>
            <a:lvl1pPr>
              <a:defRPr sz="1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9EF4BB56-4511-4D4B-B1CE-7496C1BDB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42278" y="1948308"/>
            <a:ext cx="1652266" cy="268434"/>
          </a:xfrm>
        </p:spPr>
        <p:txBody>
          <a:bodyPr/>
          <a:lstStyle>
            <a:lvl1pPr>
              <a:defRPr sz="1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A5D0AF0-14B5-FB4C-9A3D-38570A77059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183241" y="2691503"/>
            <a:ext cx="2230936" cy="439148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CEDDFC23-987F-D649-AC0A-8278DC76612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183241" y="3548490"/>
            <a:ext cx="2230936" cy="439148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5F06E18E-6C35-ED44-B0A1-A45465982C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183241" y="4405478"/>
            <a:ext cx="2230936" cy="439148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Elevance Sans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16">
            <a:extLst>
              <a:ext uri="{FF2B5EF4-FFF2-40B4-BE49-F238E27FC236}">
                <a16:creationId xmlns:a16="http://schemas.microsoft.com/office/drawing/2014/main" id="{466C3108-2271-4849-AC8B-AE3CAA3940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5600" y="2653748"/>
            <a:ext cx="1395941" cy="561942"/>
          </a:xfrm>
        </p:spPr>
        <p:txBody>
          <a:bodyPr anchor="ctr" anchorCtr="0"/>
          <a:lstStyle>
            <a:lvl1pPr>
              <a:defRPr sz="5500" b="0" i="0">
                <a:solidFill>
                  <a:schemeClr val="bg1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49" name="Text Placeholder 16">
            <a:extLst>
              <a:ext uri="{FF2B5EF4-FFF2-40B4-BE49-F238E27FC236}">
                <a16:creationId xmlns:a16="http://schemas.microsoft.com/office/drawing/2014/main" id="{D5A9143D-7150-AC42-B40F-D5C4B2E4E8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55600" y="3513481"/>
            <a:ext cx="1395941" cy="561942"/>
          </a:xfrm>
        </p:spPr>
        <p:txBody>
          <a:bodyPr anchor="ctr" anchorCtr="0"/>
          <a:lstStyle>
            <a:lvl1pPr>
              <a:defRPr sz="5500" b="0" i="0">
                <a:solidFill>
                  <a:schemeClr val="bg1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50" name="Text Placeholder 16">
            <a:extLst>
              <a:ext uri="{FF2B5EF4-FFF2-40B4-BE49-F238E27FC236}">
                <a16:creationId xmlns:a16="http://schemas.microsoft.com/office/drawing/2014/main" id="{7DA7978D-E906-C942-B91D-81151851337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5600" y="4373214"/>
            <a:ext cx="1395941" cy="561942"/>
          </a:xfrm>
        </p:spPr>
        <p:txBody>
          <a:bodyPr anchor="ctr" anchorCtr="0"/>
          <a:lstStyle>
            <a:lvl1pPr>
              <a:defRPr sz="5500" b="0" i="0">
                <a:solidFill>
                  <a:schemeClr val="bg1"/>
                </a:solidFill>
                <a:latin typeface="Elevance Sans Medium" pitchFamily="2" charset="0"/>
              </a:defRPr>
            </a:lvl1pPr>
          </a:lstStyle>
          <a:p>
            <a:pPr lvl="0"/>
            <a:r>
              <a:rPr lang="en-US" dirty="0"/>
              <a:t>XX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53CF610-EC9E-1EE1-5D5D-10FEFB998CD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6897693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Purple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4AA359-29EA-5F4F-BDCD-44D77DDDBA39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32D85FF-C9D8-F24D-9CA2-21283ABF1C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4BB02AB-F970-4F91-A89C-1973840E830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659090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 Purple">
    <p:bg>
      <p:bgPr>
        <a:solidFill>
          <a:srgbClr val="2B1B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E75330-0906-7041-819F-960237FD5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E4AA359-29EA-5F4F-BDCD-44D77DDDBA39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32D85FF-C9D8-F24D-9CA2-21283ABF1C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6AA53B9-DE63-7BE1-CF43-C92B3179746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015938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ar Super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c 6">
            <a:extLst>
              <a:ext uri="{FF2B5EF4-FFF2-40B4-BE49-F238E27FC236}">
                <a16:creationId xmlns:a16="http://schemas.microsoft.com/office/drawing/2014/main" id="{FE20D0F9-50E8-FC44-9957-5927A5C28D74}"/>
              </a:ext>
            </a:extLst>
          </p:cNvPr>
          <p:cNvSpPr/>
          <p:nvPr/>
        </p:nvSpPr>
        <p:spPr>
          <a:xfrm rot="10800000">
            <a:off x="7700406" y="-5517141"/>
            <a:ext cx="8983187" cy="8983187"/>
          </a:xfrm>
          <a:prstGeom prst="arc">
            <a:avLst>
              <a:gd name="adj1" fmla="val 16200000"/>
              <a:gd name="adj2" fmla="val 2083408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3117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C05AC6-9FBA-434E-BB3D-C7EE786774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5088" y="1503979"/>
            <a:ext cx="8349500" cy="1567689"/>
          </a:xfrm>
        </p:spPr>
        <p:txBody>
          <a:bodyPr vert="horz" anchor="b" anchorCtr="0"/>
          <a:lstStyle>
            <a:lvl1pPr algn="l">
              <a:defRPr sz="5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F9BAEB-A94F-439F-B9CE-0030334E1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5088" y="4517136"/>
            <a:ext cx="5638800" cy="228600"/>
          </a:xfrm>
        </p:spPr>
        <p:txBody>
          <a:bodyPr/>
          <a:lstStyle>
            <a:lvl1pPr marL="0" indent="0" algn="l">
              <a:buNone/>
              <a:defRPr sz="18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F072A8-8335-584F-BE52-8FBA3F06E93A}"/>
              </a:ext>
            </a:extLst>
          </p:cNvPr>
          <p:cNvCxnSpPr>
            <a:cxnSpLocks/>
          </p:cNvCxnSpPr>
          <p:nvPr/>
        </p:nvCxnSpPr>
        <p:spPr>
          <a:xfrm>
            <a:off x="0" y="3466047"/>
            <a:ext cx="12192000" cy="0"/>
          </a:xfrm>
          <a:prstGeom prst="line">
            <a:avLst/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Arc 9">
            <a:extLst>
              <a:ext uri="{FF2B5EF4-FFF2-40B4-BE49-F238E27FC236}">
                <a16:creationId xmlns:a16="http://schemas.microsoft.com/office/drawing/2014/main" id="{336C828C-5FD5-5842-8A7F-FCDE3E492A7E}"/>
              </a:ext>
            </a:extLst>
          </p:cNvPr>
          <p:cNvSpPr/>
          <p:nvPr/>
        </p:nvSpPr>
        <p:spPr>
          <a:xfrm rot="16200000">
            <a:off x="7700406" y="3466048"/>
            <a:ext cx="8983187" cy="8983187"/>
          </a:xfrm>
          <a:prstGeom prst="arc">
            <a:avLst>
              <a:gd name="adj1" fmla="val 17028583"/>
              <a:gd name="adj2" fmla="val 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DD3FC0C-5E28-CC45-ACF0-E5E4289930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088" y="4758997"/>
            <a:ext cx="5638800" cy="22453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800" b="0" i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89E0B22-25D8-6FE3-8887-EA879F61A6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6061" y="578755"/>
            <a:ext cx="1786364" cy="4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8031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9511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D864AB1-FA21-E948-BBC5-87E7C74C69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1691640"/>
            <a:ext cx="2651125" cy="4315460"/>
          </a:xfrm>
        </p:spPr>
        <p:txBody>
          <a:bodyPr/>
          <a:lstStyle>
            <a:lvl1pPr marL="0" indent="0">
              <a:lnSpc>
                <a:spcPct val="1200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able Placeholder 14">
            <a:extLst>
              <a:ext uri="{FF2B5EF4-FFF2-40B4-BE49-F238E27FC236}">
                <a16:creationId xmlns:a16="http://schemas.microsoft.com/office/drawing/2014/main" id="{A26E02A6-FCD4-2349-A224-1CAE40B3C672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336925" y="1691641"/>
            <a:ext cx="8397875" cy="4315460"/>
          </a:xfrm>
        </p:spPr>
        <p:txBody>
          <a:bodyPr/>
          <a:lstStyle>
            <a:lvl1pPr marL="0" indent="0">
              <a:buNone/>
              <a:defRPr sz="1400"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3086E9-DD46-BF44-9FB9-ECD66EB782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AC43919-65F4-AC45-90D9-184605FD6F6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4848555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900F767-BE76-4CEE-AC77-B4E0495DE07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2582352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2687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D864AB1-FA21-E948-BBC5-87E7C74C69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691640"/>
            <a:ext cx="2651124" cy="4315460"/>
          </a:xfrm>
        </p:spPr>
        <p:txBody>
          <a:bodyPr/>
          <a:lstStyle>
            <a:lvl1pPr marL="0" indent="0">
              <a:lnSpc>
                <a:spcPct val="120000"/>
              </a:lnSpc>
              <a:buNone/>
              <a:defRPr sz="1400"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6B9CC2-0A93-824B-8784-1E187A641D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336925" y="0"/>
            <a:ext cx="8855075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D84F6E5-E352-B74C-8251-2905A2D269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384048"/>
            <a:ext cx="2651125" cy="822960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EAA3626-B192-7954-2795-53FA1BDAEF44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11355660" y="6426199"/>
            <a:ext cx="379141" cy="146380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fld id="{DB91F917-4553-0B4C-86D1-30F17B22228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A252A36-C9C2-A4C8-798D-15C5353A4B9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1665466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3071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6B9CC2-0A93-824B-8784-1E187A641D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0D6646E-C578-A14A-A853-62114E9D76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5334000" cy="822960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1CF216C-01D7-7A42-655D-ED8193489E2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419224" y="6306217"/>
            <a:ext cx="4371975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E43737-9BA8-28F9-9B37-28D9385536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00" y="1691640"/>
            <a:ext cx="5334000" cy="4315460"/>
          </a:xfrm>
        </p:spPr>
        <p:txBody>
          <a:bodyPr/>
          <a:lstStyle>
            <a:lvl1pPr>
              <a:lnSpc>
                <a:spcPct val="120000"/>
              </a:lnSpc>
              <a:spcBef>
                <a:spcPts val="1600"/>
              </a:spcBef>
              <a:defRPr sz="1600">
                <a:latin typeface="+mn-lt"/>
              </a:defRPr>
            </a:lvl1pPr>
            <a:lvl2pPr marL="293688" indent="-293688">
              <a:lnSpc>
                <a:spcPct val="120000"/>
              </a:lnSpc>
              <a:spcBef>
                <a:spcPts val="1600"/>
              </a:spcBef>
              <a:buFont typeface="Elevance Sans" pitchFamily="2" charset="0"/>
              <a:buChar char="•"/>
              <a:tabLst/>
              <a:defRPr sz="1600">
                <a:latin typeface="+mn-lt"/>
              </a:defRPr>
            </a:lvl2pPr>
            <a:lvl3pPr marL="9525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0FE2A77-52B0-0002-3E44-F3A5C019571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11355660" y="6426199"/>
            <a:ext cx="379141" cy="146380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fld id="{F3D65CF3-2F65-3542-86CF-6454B72998A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1917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Thre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C481F15-58C8-BB47-847B-AFEF12FCE23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C7E88C62-B078-D543-A31B-4986E333098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665120" y="2346325"/>
            <a:ext cx="731837" cy="731276"/>
          </a:xfrm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3101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5107B16-D40D-4D49-AC9F-081161A30D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5334000" cy="822960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9F5B07-CC0C-8242-81AD-1C0EB2CDA362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8DCCDA-24C3-CC42-9EEC-7C84C2FB85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73863" y="1691640"/>
            <a:ext cx="4249737" cy="316103"/>
          </a:xfrm>
        </p:spPr>
        <p:txBody>
          <a:bodyPr/>
          <a:lstStyle>
            <a:lvl1pPr>
              <a:lnSpc>
                <a:spcPct val="120000"/>
              </a:lnSpc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628AA8C-3AA3-804C-BAC2-938EE013A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15275" y="2354336"/>
            <a:ext cx="3818526" cy="723265"/>
          </a:xfrm>
        </p:spPr>
        <p:txBody>
          <a:bodyPr/>
          <a:lstStyle>
            <a:lvl1pPr>
              <a:lnSpc>
                <a:spcPct val="120000"/>
              </a:lnSpc>
              <a:defRPr sz="1200" b="0" i="0">
                <a:latin typeface="Elevance Sans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60BE6EBB-EB34-2242-AEBC-48C5BF2653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915275" y="3736210"/>
            <a:ext cx="3818526" cy="723265"/>
          </a:xfrm>
        </p:spPr>
        <p:txBody>
          <a:bodyPr/>
          <a:lstStyle>
            <a:lvl1pPr>
              <a:lnSpc>
                <a:spcPct val="120000"/>
              </a:lnSpc>
              <a:defRPr sz="1200" b="0" i="0">
                <a:latin typeface="Elevance Sans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62787009-1D09-0143-B730-093388290FE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15275" y="5118084"/>
            <a:ext cx="3818526" cy="723265"/>
          </a:xfrm>
        </p:spPr>
        <p:txBody>
          <a:bodyPr/>
          <a:lstStyle>
            <a:lvl1pPr>
              <a:lnSpc>
                <a:spcPct val="120000"/>
              </a:lnSpc>
              <a:defRPr sz="1200" b="0" i="0">
                <a:latin typeface="Elevance Sans" pitchFamily="2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icture Placeholder 22">
            <a:extLst>
              <a:ext uri="{FF2B5EF4-FFF2-40B4-BE49-F238E27FC236}">
                <a16:creationId xmlns:a16="http://schemas.microsoft.com/office/drawing/2014/main" id="{926707BB-0CF8-D742-A1DA-677AC916C15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665120" y="3736210"/>
            <a:ext cx="731837" cy="731276"/>
          </a:xfrm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5" name="Picture Placeholder 22">
            <a:extLst>
              <a:ext uri="{FF2B5EF4-FFF2-40B4-BE49-F238E27FC236}">
                <a16:creationId xmlns:a16="http://schemas.microsoft.com/office/drawing/2014/main" id="{F2140207-71CD-1744-B834-6438BAD46B2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665120" y="5118084"/>
            <a:ext cx="731837" cy="731276"/>
          </a:xfrm>
        </p:spPr>
        <p:txBody>
          <a:bodyPr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40F05F6-3DE7-6705-C11E-BA69FCC7422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419224" y="6306217"/>
            <a:ext cx="4371975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2F481A-950D-FAC1-C471-F344B373E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0" y="1691640"/>
            <a:ext cx="5435600" cy="4315460"/>
          </a:xfrm>
        </p:spPr>
        <p:txBody>
          <a:bodyPr/>
          <a:lstStyle>
            <a:lvl1pPr>
              <a:lnSpc>
                <a:spcPct val="120000"/>
              </a:lnSpc>
              <a:spcBef>
                <a:spcPts val="1600"/>
              </a:spcBef>
              <a:defRPr sz="1600"/>
            </a:lvl1pPr>
            <a:lvl2pPr>
              <a:lnSpc>
                <a:spcPct val="120000"/>
              </a:lnSpc>
              <a:spcBef>
                <a:spcPts val="1600"/>
              </a:spcBef>
              <a:defRPr sz="1600"/>
            </a:lvl2pPr>
            <a:lvl3pPr>
              <a:lnSpc>
                <a:spcPct val="120000"/>
              </a:lnSpc>
              <a:spcBef>
                <a:spcPts val="1600"/>
              </a:spcBef>
              <a:defRPr sz="1600"/>
            </a:lvl3pPr>
            <a:lvl4pPr>
              <a:lnSpc>
                <a:spcPct val="120000"/>
              </a:lnSpc>
              <a:spcBef>
                <a:spcPts val="1600"/>
              </a:spcBef>
              <a:defRPr sz="1600"/>
            </a:lvl4pPr>
            <a:lvl5pPr>
              <a:lnSpc>
                <a:spcPct val="120000"/>
              </a:lnSpc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4940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C481F15-58C8-BB47-847B-AFEF12FCE234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73101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5107B16-D40D-4D49-AC9F-081161A30D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5334000" cy="822960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9F5B07-CC0C-8242-81AD-1C0EB2CDA362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40F05F6-3DE7-6705-C11E-BA69FCC7422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419224" y="6306217"/>
            <a:ext cx="4371975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2F481A-950D-FAC1-C471-F344B373ED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0" y="1691640"/>
            <a:ext cx="5435600" cy="4315460"/>
          </a:xfrm>
        </p:spPr>
        <p:txBody>
          <a:bodyPr/>
          <a:lstStyle>
            <a:lvl1pPr>
              <a:lnSpc>
                <a:spcPct val="120000"/>
              </a:lnSpc>
              <a:spcBef>
                <a:spcPts val="1600"/>
              </a:spcBef>
              <a:defRPr sz="1600"/>
            </a:lvl1pPr>
            <a:lvl2pPr>
              <a:lnSpc>
                <a:spcPct val="120000"/>
              </a:lnSpc>
              <a:spcBef>
                <a:spcPts val="1600"/>
              </a:spcBef>
              <a:defRPr sz="1600"/>
            </a:lvl2pPr>
            <a:lvl3pPr>
              <a:lnSpc>
                <a:spcPct val="120000"/>
              </a:lnSpc>
              <a:spcBef>
                <a:spcPts val="1600"/>
              </a:spcBef>
              <a:defRPr sz="1600"/>
            </a:lvl3pPr>
            <a:lvl4pPr>
              <a:lnSpc>
                <a:spcPct val="120000"/>
              </a:lnSpc>
              <a:spcBef>
                <a:spcPts val="1600"/>
              </a:spcBef>
              <a:defRPr sz="1600"/>
            </a:lvl4pPr>
            <a:lvl5pPr>
              <a:lnSpc>
                <a:spcPct val="120000"/>
              </a:lnSpc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4498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Statem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11418EC-3C88-4D46-862D-8E997A834E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US" sz="120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5E1CC42B-98BF-73E6-8CC8-8ED6776898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12192000" cy="6858000"/>
          </a:xfrm>
          <a:gradFill>
            <a:gsLst>
              <a:gs pos="0">
                <a:srgbClr val="000000">
                  <a:alpha val="34000"/>
                </a:srgbClr>
              </a:gs>
              <a:gs pos="100000">
                <a:srgbClr val="000000">
                  <a:alpha val="34742"/>
                </a:srgbClr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2AA750-F07B-144C-B416-DBC2747129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31576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2AA750-F07B-144C-B416-DBC27471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8361CF-360D-4700-9A5B-1320F8B47D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1800"/>
            <a:ext cx="8307388" cy="2997200"/>
          </a:xfrm>
        </p:spPr>
        <p:txBody>
          <a:bodyPr vert="horz"/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o statement </a:t>
            </a:r>
            <a:br>
              <a:rPr lang="en-US" dirty="0"/>
            </a:br>
            <a:r>
              <a:rPr lang="en-US" dirty="0"/>
              <a:t>or divider title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7CEF25A-BB49-7744-A3F7-57849C61D7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98" y="6181343"/>
            <a:ext cx="365345" cy="365371"/>
          </a:xfrm>
          <a:custGeom>
            <a:avLst/>
            <a:gdLst>
              <a:gd name="connsiteX0" fmla="*/ 248180 w 365345"/>
              <a:gd name="connsiteY0" fmla="*/ 130851 h 365371"/>
              <a:gd name="connsiteX1" fmla="*/ 259521 w 365345"/>
              <a:gd name="connsiteY1" fmla="*/ 136692 h 365371"/>
              <a:gd name="connsiteX2" fmla="*/ 277100 w 365345"/>
              <a:gd name="connsiteY2" fmla="*/ 139811 h 365371"/>
              <a:gd name="connsiteX3" fmla="*/ 259436 w 365345"/>
              <a:gd name="connsiteY3" fmla="*/ 182681 h 365371"/>
              <a:gd name="connsiteX4" fmla="*/ 263576 w 365345"/>
              <a:gd name="connsiteY4" fmla="*/ 190110 h 365371"/>
              <a:gd name="connsiteX5" fmla="*/ 277185 w 365345"/>
              <a:gd name="connsiteY5" fmla="*/ 189061 h 365371"/>
              <a:gd name="connsiteX6" fmla="*/ 291787 w 365345"/>
              <a:gd name="connsiteY6" fmla="*/ 190280 h 365371"/>
              <a:gd name="connsiteX7" fmla="*/ 364117 w 365345"/>
              <a:gd name="connsiteY7" fmla="*/ 291814 h 365371"/>
              <a:gd name="connsiteX8" fmla="*/ 262583 w 365345"/>
              <a:gd name="connsiteY8" fmla="*/ 364143 h 365371"/>
              <a:gd name="connsiteX9" fmla="*/ 190253 w 365345"/>
              <a:gd name="connsiteY9" fmla="*/ 262610 h 365371"/>
              <a:gd name="connsiteX10" fmla="*/ 225525 w 365345"/>
              <a:gd name="connsiteY10" fmla="*/ 277127 h 365371"/>
              <a:gd name="connsiteX11" fmla="*/ 234542 w 365345"/>
              <a:gd name="connsiteY11" fmla="*/ 306359 h 365371"/>
              <a:gd name="connsiteX12" fmla="*/ 306304 w 365345"/>
              <a:gd name="connsiteY12" fmla="*/ 319827 h 365371"/>
              <a:gd name="connsiteX13" fmla="*/ 319772 w 365345"/>
              <a:gd name="connsiteY13" fmla="*/ 248064 h 365371"/>
              <a:gd name="connsiteX14" fmla="*/ 248010 w 365345"/>
              <a:gd name="connsiteY14" fmla="*/ 234596 h 365371"/>
              <a:gd name="connsiteX15" fmla="*/ 226773 w 365345"/>
              <a:gd name="connsiteY15" fmla="*/ 182681 h 365371"/>
              <a:gd name="connsiteX16" fmla="*/ 277156 w 365345"/>
              <a:gd name="connsiteY16" fmla="*/ 0 h 365371"/>
              <a:gd name="connsiteX17" fmla="*/ 277185 w 365345"/>
              <a:gd name="connsiteY17" fmla="*/ 0 h 365371"/>
              <a:gd name="connsiteX18" fmla="*/ 277156 w 365345"/>
              <a:gd name="connsiteY18" fmla="*/ 6 h 365371"/>
              <a:gd name="connsiteX19" fmla="*/ 88095 w 365345"/>
              <a:gd name="connsiteY19" fmla="*/ 0 h 365371"/>
              <a:gd name="connsiteX20" fmla="*/ 103264 w 365345"/>
              <a:gd name="connsiteY20" fmla="*/ 1304 h 365371"/>
              <a:gd name="connsiteX21" fmla="*/ 173997 w 365345"/>
              <a:gd name="connsiteY21" fmla="*/ 67899 h 365371"/>
              <a:gd name="connsiteX22" fmla="*/ 175026 w 365345"/>
              <a:gd name="connsiteY22" fmla="*/ 102757 h 365371"/>
              <a:gd name="connsiteX23" fmla="*/ 182654 w 365345"/>
              <a:gd name="connsiteY23" fmla="*/ 105900 h 365371"/>
              <a:gd name="connsiteX24" fmla="*/ 190083 w 365345"/>
              <a:gd name="connsiteY24" fmla="*/ 101761 h 365371"/>
              <a:gd name="connsiteX25" fmla="*/ 189034 w 365345"/>
              <a:gd name="connsiteY25" fmla="*/ 88151 h 365371"/>
              <a:gd name="connsiteX26" fmla="*/ 242873 w 365345"/>
              <a:gd name="connsiteY26" fmla="*/ 6928 h 365371"/>
              <a:gd name="connsiteX27" fmla="*/ 277156 w 365345"/>
              <a:gd name="connsiteY27" fmla="*/ 6 h 365371"/>
              <a:gd name="connsiteX28" fmla="*/ 277156 w 365345"/>
              <a:gd name="connsiteY28" fmla="*/ 142 h 365371"/>
              <a:gd name="connsiteX29" fmla="*/ 291758 w 365345"/>
              <a:gd name="connsiteY29" fmla="*/ 1361 h 365371"/>
              <a:gd name="connsiteX30" fmla="*/ 364088 w 365345"/>
              <a:gd name="connsiteY30" fmla="*/ 102895 h 365371"/>
              <a:gd name="connsiteX31" fmla="*/ 262554 w 365345"/>
              <a:gd name="connsiteY31" fmla="*/ 175225 h 365371"/>
              <a:gd name="connsiteX32" fmla="*/ 277100 w 365345"/>
              <a:gd name="connsiteY32" fmla="*/ 139953 h 365371"/>
              <a:gd name="connsiteX33" fmla="*/ 306332 w 365345"/>
              <a:gd name="connsiteY33" fmla="*/ 130936 h 365371"/>
              <a:gd name="connsiteX34" fmla="*/ 319800 w 365345"/>
              <a:gd name="connsiteY34" fmla="*/ 59174 h 365371"/>
              <a:gd name="connsiteX35" fmla="*/ 248037 w 365345"/>
              <a:gd name="connsiteY35" fmla="*/ 45706 h 365371"/>
              <a:gd name="connsiteX36" fmla="*/ 234569 w 365345"/>
              <a:gd name="connsiteY36" fmla="*/ 117469 h 365371"/>
              <a:gd name="connsiteX37" fmla="*/ 182654 w 365345"/>
              <a:gd name="connsiteY37" fmla="*/ 138564 h 365371"/>
              <a:gd name="connsiteX38" fmla="*/ 130824 w 365345"/>
              <a:gd name="connsiteY38" fmla="*/ 117213 h 365371"/>
              <a:gd name="connsiteX39" fmla="*/ 139780 w 365345"/>
              <a:gd name="connsiteY39" fmla="*/ 88250 h 365371"/>
              <a:gd name="connsiteX40" fmla="*/ 130767 w 365345"/>
              <a:gd name="connsiteY40" fmla="*/ 59032 h 365371"/>
              <a:gd name="connsiteX41" fmla="*/ 59005 w 365345"/>
              <a:gd name="connsiteY41" fmla="*/ 45564 h 365371"/>
              <a:gd name="connsiteX42" fmla="*/ 45537 w 365345"/>
              <a:gd name="connsiteY42" fmla="*/ 117327 h 365371"/>
              <a:gd name="connsiteX43" fmla="*/ 117299 w 365345"/>
              <a:gd name="connsiteY43" fmla="*/ 130795 h 365371"/>
              <a:gd name="connsiteX44" fmla="*/ 138508 w 365345"/>
              <a:gd name="connsiteY44" fmla="*/ 182682 h 365371"/>
              <a:gd name="connsiteX45" fmla="*/ 117101 w 365345"/>
              <a:gd name="connsiteY45" fmla="*/ 234512 h 365371"/>
              <a:gd name="connsiteX46" fmla="*/ 105760 w 365345"/>
              <a:gd name="connsiteY46" fmla="*/ 228671 h 365371"/>
              <a:gd name="connsiteX47" fmla="*/ 88180 w 365345"/>
              <a:gd name="connsiteY47" fmla="*/ 225552 h 365371"/>
              <a:gd name="connsiteX48" fmla="*/ 88180 w 365345"/>
              <a:gd name="connsiteY48" fmla="*/ 225551 h 365371"/>
              <a:gd name="connsiteX49" fmla="*/ 58948 w 365345"/>
              <a:gd name="connsiteY49" fmla="*/ 234568 h 365371"/>
              <a:gd name="connsiteX50" fmla="*/ 45480 w 365345"/>
              <a:gd name="connsiteY50" fmla="*/ 306330 h 365371"/>
              <a:gd name="connsiteX51" fmla="*/ 117243 w 365345"/>
              <a:gd name="connsiteY51" fmla="*/ 319798 h 365371"/>
              <a:gd name="connsiteX52" fmla="*/ 130711 w 365345"/>
              <a:gd name="connsiteY52" fmla="*/ 248036 h 365371"/>
              <a:gd name="connsiteX53" fmla="*/ 182655 w 365345"/>
              <a:gd name="connsiteY53" fmla="*/ 226799 h 365371"/>
              <a:gd name="connsiteX54" fmla="*/ 234456 w 365345"/>
              <a:gd name="connsiteY54" fmla="*/ 248149 h 365371"/>
              <a:gd name="connsiteX55" fmla="*/ 225525 w 365345"/>
              <a:gd name="connsiteY55" fmla="*/ 277126 h 365371"/>
              <a:gd name="connsiteX56" fmla="*/ 182655 w 365345"/>
              <a:gd name="connsiteY56" fmla="*/ 259462 h 365371"/>
              <a:gd name="connsiteX57" fmla="*/ 175226 w 365345"/>
              <a:gd name="connsiteY57" fmla="*/ 263602 h 365371"/>
              <a:gd name="connsiteX58" fmla="*/ 175056 w 365345"/>
              <a:gd name="connsiteY58" fmla="*/ 291700 h 365371"/>
              <a:gd name="connsiteX59" fmla="*/ 73635 w 365345"/>
              <a:gd name="connsiteY59" fmla="*/ 364030 h 365371"/>
              <a:gd name="connsiteX60" fmla="*/ 1306 w 365345"/>
              <a:gd name="connsiteY60" fmla="*/ 262609 h 365371"/>
              <a:gd name="connsiteX61" fmla="*/ 67768 w 365345"/>
              <a:gd name="connsiteY61" fmla="*/ 191450 h 365371"/>
              <a:gd name="connsiteX62" fmla="*/ 102704 w 365345"/>
              <a:gd name="connsiteY62" fmla="*/ 190281 h 365371"/>
              <a:gd name="connsiteX63" fmla="*/ 105845 w 365345"/>
              <a:gd name="connsiteY63" fmla="*/ 182653 h 365371"/>
              <a:gd name="connsiteX64" fmla="*/ 101705 w 365345"/>
              <a:gd name="connsiteY64" fmla="*/ 175253 h 365371"/>
              <a:gd name="connsiteX65" fmla="*/ 88095 w 365345"/>
              <a:gd name="connsiteY65" fmla="*/ 176302 h 365371"/>
              <a:gd name="connsiteX66" fmla="*/ 1 w 365345"/>
              <a:gd name="connsiteY66" fmla="*/ 88208 h 365371"/>
              <a:gd name="connsiteX67" fmla="*/ 88095 w 365345"/>
              <a:gd name="connsiteY67" fmla="*/ 0 h 365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365345" h="365371">
                <a:moveTo>
                  <a:pt x="248180" y="130851"/>
                </a:moveTo>
                <a:cubicBezTo>
                  <a:pt x="251695" y="133261"/>
                  <a:pt x="255523" y="135217"/>
                  <a:pt x="259521" y="136692"/>
                </a:cubicBezTo>
                <a:cubicBezTo>
                  <a:pt x="265163" y="138733"/>
                  <a:pt x="271118" y="139811"/>
                  <a:pt x="277100" y="139811"/>
                </a:cubicBezTo>
                <a:lnTo>
                  <a:pt x="259436" y="182681"/>
                </a:lnTo>
                <a:lnTo>
                  <a:pt x="263576" y="190110"/>
                </a:lnTo>
                <a:cubicBezTo>
                  <a:pt x="268084" y="189401"/>
                  <a:pt x="272620" y="189061"/>
                  <a:pt x="277185" y="189061"/>
                </a:cubicBezTo>
                <a:cubicBezTo>
                  <a:pt x="282090" y="189061"/>
                  <a:pt x="286967" y="189458"/>
                  <a:pt x="291787" y="190280"/>
                </a:cubicBezTo>
                <a:cubicBezTo>
                  <a:pt x="339790" y="198332"/>
                  <a:pt x="372169" y="243811"/>
                  <a:pt x="364117" y="291814"/>
                </a:cubicBezTo>
                <a:cubicBezTo>
                  <a:pt x="356065" y="339816"/>
                  <a:pt x="310586" y="372196"/>
                  <a:pt x="262583" y="364143"/>
                </a:cubicBezTo>
                <a:cubicBezTo>
                  <a:pt x="214581" y="356091"/>
                  <a:pt x="182201" y="310612"/>
                  <a:pt x="190253" y="262610"/>
                </a:cubicBezTo>
                <a:lnTo>
                  <a:pt x="225525" y="277127"/>
                </a:lnTo>
                <a:cubicBezTo>
                  <a:pt x="225497" y="287561"/>
                  <a:pt x="228644" y="297740"/>
                  <a:pt x="234542" y="306359"/>
                </a:cubicBezTo>
                <a:cubicBezTo>
                  <a:pt x="250646" y="329892"/>
                  <a:pt x="282771" y="335932"/>
                  <a:pt x="306304" y="319827"/>
                </a:cubicBezTo>
                <a:cubicBezTo>
                  <a:pt x="329838" y="303722"/>
                  <a:pt x="335877" y="271598"/>
                  <a:pt x="319772" y="248064"/>
                </a:cubicBezTo>
                <a:cubicBezTo>
                  <a:pt x="303667" y="224531"/>
                  <a:pt x="271543" y="218492"/>
                  <a:pt x="248010" y="234596"/>
                </a:cubicBezTo>
                <a:lnTo>
                  <a:pt x="226773" y="182681"/>
                </a:lnTo>
                <a:close/>
                <a:moveTo>
                  <a:pt x="277156" y="0"/>
                </a:moveTo>
                <a:lnTo>
                  <a:pt x="277185" y="0"/>
                </a:lnTo>
                <a:lnTo>
                  <a:pt x="277156" y="6"/>
                </a:lnTo>
                <a:close/>
                <a:moveTo>
                  <a:pt x="88095" y="0"/>
                </a:moveTo>
                <a:cubicBezTo>
                  <a:pt x="93199" y="0"/>
                  <a:pt x="98246" y="425"/>
                  <a:pt x="103264" y="1304"/>
                </a:cubicBezTo>
                <a:cubicBezTo>
                  <a:pt x="139139" y="7450"/>
                  <a:pt x="166177" y="34552"/>
                  <a:pt x="173997" y="67899"/>
                </a:cubicBezTo>
                <a:lnTo>
                  <a:pt x="175026" y="102757"/>
                </a:lnTo>
                <a:lnTo>
                  <a:pt x="182654" y="105900"/>
                </a:lnTo>
                <a:lnTo>
                  <a:pt x="190083" y="101761"/>
                </a:lnTo>
                <a:cubicBezTo>
                  <a:pt x="189374" y="97252"/>
                  <a:pt x="189034" y="92716"/>
                  <a:pt x="189034" y="88151"/>
                </a:cubicBezTo>
                <a:cubicBezTo>
                  <a:pt x="189034" y="51639"/>
                  <a:pt x="211235" y="20310"/>
                  <a:pt x="242873" y="6928"/>
                </a:cubicBezTo>
                <a:lnTo>
                  <a:pt x="277156" y="6"/>
                </a:lnTo>
                <a:lnTo>
                  <a:pt x="277156" y="142"/>
                </a:lnTo>
                <a:cubicBezTo>
                  <a:pt x="282062" y="142"/>
                  <a:pt x="286938" y="539"/>
                  <a:pt x="291758" y="1361"/>
                </a:cubicBezTo>
                <a:cubicBezTo>
                  <a:pt x="339789" y="9413"/>
                  <a:pt x="372169" y="54892"/>
                  <a:pt x="364088" y="102895"/>
                </a:cubicBezTo>
                <a:cubicBezTo>
                  <a:pt x="356036" y="150926"/>
                  <a:pt x="310557" y="183305"/>
                  <a:pt x="262554" y="175225"/>
                </a:cubicBezTo>
                <a:lnTo>
                  <a:pt x="277100" y="139953"/>
                </a:lnTo>
                <a:cubicBezTo>
                  <a:pt x="287534" y="139981"/>
                  <a:pt x="297713" y="136834"/>
                  <a:pt x="306332" y="130936"/>
                </a:cubicBezTo>
                <a:cubicBezTo>
                  <a:pt x="329865" y="114832"/>
                  <a:pt x="335905" y="82707"/>
                  <a:pt x="319800" y="59174"/>
                </a:cubicBezTo>
                <a:cubicBezTo>
                  <a:pt x="303695" y="35640"/>
                  <a:pt x="271571" y="29601"/>
                  <a:pt x="248037" y="45706"/>
                </a:cubicBezTo>
                <a:cubicBezTo>
                  <a:pt x="224504" y="61811"/>
                  <a:pt x="218465" y="93935"/>
                  <a:pt x="234569" y="117469"/>
                </a:cubicBezTo>
                <a:lnTo>
                  <a:pt x="182654" y="138564"/>
                </a:lnTo>
                <a:lnTo>
                  <a:pt x="130824" y="117213"/>
                </a:lnTo>
                <a:lnTo>
                  <a:pt x="139780" y="88250"/>
                </a:lnTo>
                <a:lnTo>
                  <a:pt x="130767" y="59032"/>
                </a:lnTo>
                <a:cubicBezTo>
                  <a:pt x="114663" y="35499"/>
                  <a:pt x="82538" y="29459"/>
                  <a:pt x="59005" y="45564"/>
                </a:cubicBezTo>
                <a:cubicBezTo>
                  <a:pt x="35471" y="61669"/>
                  <a:pt x="29432" y="93793"/>
                  <a:pt x="45537" y="117327"/>
                </a:cubicBezTo>
                <a:cubicBezTo>
                  <a:pt x="61642" y="140860"/>
                  <a:pt x="93766" y="146899"/>
                  <a:pt x="117299" y="130795"/>
                </a:cubicBezTo>
                <a:lnTo>
                  <a:pt x="138508" y="182682"/>
                </a:lnTo>
                <a:lnTo>
                  <a:pt x="117101" y="234512"/>
                </a:lnTo>
                <a:cubicBezTo>
                  <a:pt x="113585" y="232102"/>
                  <a:pt x="109786" y="230117"/>
                  <a:pt x="105760" y="228671"/>
                </a:cubicBezTo>
                <a:cubicBezTo>
                  <a:pt x="100117" y="226629"/>
                  <a:pt x="94163" y="225552"/>
                  <a:pt x="88180" y="225552"/>
                </a:cubicBezTo>
                <a:lnTo>
                  <a:pt x="88180" y="225551"/>
                </a:lnTo>
                <a:lnTo>
                  <a:pt x="58948" y="234568"/>
                </a:lnTo>
                <a:cubicBezTo>
                  <a:pt x="35415" y="250673"/>
                  <a:pt x="29376" y="282797"/>
                  <a:pt x="45480" y="306330"/>
                </a:cubicBezTo>
                <a:cubicBezTo>
                  <a:pt x="61585" y="329864"/>
                  <a:pt x="93710" y="335903"/>
                  <a:pt x="117243" y="319798"/>
                </a:cubicBezTo>
                <a:cubicBezTo>
                  <a:pt x="140776" y="303694"/>
                  <a:pt x="146816" y="271569"/>
                  <a:pt x="130711" y="248036"/>
                </a:cubicBezTo>
                <a:lnTo>
                  <a:pt x="182655" y="226799"/>
                </a:lnTo>
                <a:lnTo>
                  <a:pt x="234456" y="248149"/>
                </a:lnTo>
                <a:cubicBezTo>
                  <a:pt x="228672" y="256712"/>
                  <a:pt x="225553" y="266806"/>
                  <a:pt x="225525" y="277126"/>
                </a:cubicBezTo>
                <a:lnTo>
                  <a:pt x="182655" y="259462"/>
                </a:lnTo>
                <a:lnTo>
                  <a:pt x="175226" y="263602"/>
                </a:lnTo>
                <a:cubicBezTo>
                  <a:pt x="176672" y="272902"/>
                  <a:pt x="176615" y="282400"/>
                  <a:pt x="175056" y="291700"/>
                </a:cubicBezTo>
                <a:cubicBezTo>
                  <a:pt x="167032" y="339674"/>
                  <a:pt x="121609" y="372054"/>
                  <a:pt x="73635" y="364030"/>
                </a:cubicBezTo>
                <a:cubicBezTo>
                  <a:pt x="25661" y="356006"/>
                  <a:pt x="-6718" y="310583"/>
                  <a:pt x="1306" y="262609"/>
                </a:cubicBezTo>
                <a:cubicBezTo>
                  <a:pt x="7324" y="226629"/>
                  <a:pt x="34378" y="199420"/>
                  <a:pt x="67768" y="191450"/>
                </a:cubicBezTo>
                <a:lnTo>
                  <a:pt x="102704" y="190281"/>
                </a:lnTo>
                <a:lnTo>
                  <a:pt x="105845" y="182653"/>
                </a:lnTo>
                <a:lnTo>
                  <a:pt x="101705" y="175253"/>
                </a:lnTo>
                <a:cubicBezTo>
                  <a:pt x="97197" y="175962"/>
                  <a:pt x="92660" y="176302"/>
                  <a:pt x="88095" y="176302"/>
                </a:cubicBezTo>
                <a:cubicBezTo>
                  <a:pt x="39469" y="176274"/>
                  <a:pt x="29" y="136862"/>
                  <a:pt x="1" y="88208"/>
                </a:cubicBezTo>
                <a:cubicBezTo>
                  <a:pt x="-27" y="39525"/>
                  <a:pt x="39412" y="28"/>
                  <a:pt x="8809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  <a:lvl2pPr>
              <a:defRPr>
                <a:solidFill>
                  <a:schemeClr val="bg1">
                    <a:alpha val="0"/>
                  </a:schemeClr>
                </a:solidFill>
              </a:defRPr>
            </a:lvl2pPr>
            <a:lvl3pPr>
              <a:defRPr>
                <a:solidFill>
                  <a:schemeClr val="bg1">
                    <a:alpha val="0"/>
                  </a:schemeClr>
                </a:solidFill>
              </a:defRPr>
            </a:lvl3pPr>
            <a:lvl4pPr>
              <a:defRPr>
                <a:solidFill>
                  <a:schemeClr val="bg1">
                    <a:alpha val="0"/>
                  </a:schemeClr>
                </a:solidFill>
              </a:defRPr>
            </a:lvl4pPr>
            <a:lvl5pPr>
              <a:defRPr>
                <a:solidFill>
                  <a:schemeClr val="bg1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5B7485A-AD55-E683-3486-78A2DBA1BA7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10248EB-08DC-67F8-0BAA-D525554D2B7A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11355660" y="6426199"/>
            <a:ext cx="379141" cy="146380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fld id="{DB91F917-4553-0B4C-86D1-30F17B22228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4113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Statement Pale Navy">
    <p:bg>
      <p:bgPr>
        <a:solidFill>
          <a:srgbClr val="E1ED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2AA750-F07B-144C-B416-DBC2747129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71293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2AA750-F07B-144C-B416-DBC27471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8361CF-360D-4700-9A5B-1320F8B47D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1800"/>
            <a:ext cx="8307388" cy="2146300"/>
          </a:xfrm>
        </p:spPr>
        <p:txBody>
          <a:bodyPr vert="horz"/>
          <a:lstStyle>
            <a:lvl1pPr>
              <a:defRPr sz="6600">
                <a:solidFill>
                  <a:srgbClr val="5009B5"/>
                </a:solidFill>
              </a:defRPr>
            </a:lvl1pPr>
          </a:lstStyle>
          <a:p>
            <a:r>
              <a:rPr lang="en-US" dirty="0"/>
              <a:t>Hero statement </a:t>
            </a:r>
            <a:br>
              <a:rPr lang="en-US" dirty="0"/>
            </a:br>
            <a:r>
              <a:rPr lang="en-US" dirty="0"/>
              <a:t>or divider title her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171EC9A-3FCB-D640-AF36-C3E697D172BC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B06DF94-869D-D84E-B441-85669CD6729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985D77B-FC1A-135C-61E1-EB34E0EBADF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3232014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Statement Purple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2AA750-F07B-144C-B416-DBC2747129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841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2AA750-F07B-144C-B416-DBC27471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8361CF-360D-4700-9A5B-1320F8B47D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1800"/>
            <a:ext cx="8307388" cy="2146300"/>
          </a:xfrm>
        </p:spPr>
        <p:txBody>
          <a:bodyPr vert="horz"/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o statement </a:t>
            </a:r>
            <a:br>
              <a:rPr lang="en-US" dirty="0"/>
            </a:br>
            <a:r>
              <a:rPr lang="en-US" dirty="0"/>
              <a:t>or divider title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0AE740-6CAB-F549-92C4-3E31CD5CDCAC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2C9D7E0-B66C-364D-998B-7DC36AC05DC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694B2BC-0C99-D5BD-A22F-9EA5638BFFF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24046448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Statement Linear Supergraphic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2AA750-F07B-144C-B416-DBC2747129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4935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2AA750-F07B-144C-B416-DBC274712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rc 8">
            <a:extLst>
              <a:ext uri="{FF2B5EF4-FFF2-40B4-BE49-F238E27FC236}">
                <a16:creationId xmlns:a16="http://schemas.microsoft.com/office/drawing/2014/main" id="{3CC3D56B-1DDC-7B46-ACFF-189DADCC9727}"/>
              </a:ext>
            </a:extLst>
          </p:cNvPr>
          <p:cNvSpPr/>
          <p:nvPr/>
        </p:nvSpPr>
        <p:spPr>
          <a:xfrm rot="10800000">
            <a:off x="6817543" y="-7579128"/>
            <a:ext cx="11020827" cy="11020826"/>
          </a:xfrm>
          <a:prstGeom prst="arc">
            <a:avLst>
              <a:gd name="adj1" fmla="val 16200000"/>
              <a:gd name="adj2" fmla="val 20324932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E964816C-5828-F543-8E86-D7C70C76ED78}"/>
              </a:ext>
            </a:extLst>
          </p:cNvPr>
          <p:cNvSpPr/>
          <p:nvPr/>
        </p:nvSpPr>
        <p:spPr>
          <a:xfrm rot="16200000">
            <a:off x="6817543" y="3441700"/>
            <a:ext cx="11020826" cy="11020827"/>
          </a:xfrm>
          <a:prstGeom prst="arc">
            <a:avLst>
              <a:gd name="adj1" fmla="val 17502107"/>
              <a:gd name="adj2" fmla="val 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32B99F5-3B29-CC40-B944-F50BA0B0F19A}"/>
              </a:ext>
            </a:extLst>
          </p:cNvPr>
          <p:cNvSpPr/>
          <p:nvPr/>
        </p:nvSpPr>
        <p:spPr>
          <a:xfrm rot="10800000" flipH="1">
            <a:off x="-5556492" y="-7579128"/>
            <a:ext cx="11020827" cy="11020826"/>
          </a:xfrm>
          <a:prstGeom prst="arc">
            <a:avLst>
              <a:gd name="adj1" fmla="val 16200000"/>
              <a:gd name="adj2" fmla="val 20316416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2B2063DF-792C-F94D-98E4-7344283EDFAE}"/>
              </a:ext>
            </a:extLst>
          </p:cNvPr>
          <p:cNvSpPr/>
          <p:nvPr/>
        </p:nvSpPr>
        <p:spPr>
          <a:xfrm rot="5400000" flipH="1">
            <a:off x="-5556492" y="3441700"/>
            <a:ext cx="11020826" cy="11020827"/>
          </a:xfrm>
          <a:prstGeom prst="arc">
            <a:avLst>
              <a:gd name="adj1" fmla="val 17492116"/>
              <a:gd name="adj2" fmla="val 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8361CF-360D-4700-9A5B-1320F8B47D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31800"/>
            <a:ext cx="8307388" cy="2146300"/>
          </a:xfrm>
        </p:spPr>
        <p:txBody>
          <a:bodyPr vert="horz"/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o statement </a:t>
            </a:r>
            <a:br>
              <a:rPr lang="en-US" dirty="0"/>
            </a:br>
            <a:r>
              <a:rPr lang="en-US" dirty="0"/>
              <a:t>or divider title her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0AE740-6CAB-F549-92C4-3E31CD5CDCAC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2C9D7E0-B66C-364D-998B-7DC36AC05DC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C595332-B206-6F6B-3548-218057E2870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213356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urple Linear Supergraphic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814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rc 6">
            <a:extLst>
              <a:ext uri="{FF2B5EF4-FFF2-40B4-BE49-F238E27FC236}">
                <a16:creationId xmlns:a16="http://schemas.microsoft.com/office/drawing/2014/main" id="{620EC642-4CC9-DC4D-BE90-46572834EF99}"/>
              </a:ext>
            </a:extLst>
          </p:cNvPr>
          <p:cNvSpPr/>
          <p:nvPr/>
        </p:nvSpPr>
        <p:spPr>
          <a:xfrm rot="10800000">
            <a:off x="7700406" y="-5517141"/>
            <a:ext cx="8983187" cy="8983187"/>
          </a:xfrm>
          <a:prstGeom prst="arc">
            <a:avLst>
              <a:gd name="adj1" fmla="val 16200000"/>
              <a:gd name="adj2" fmla="val 20840015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9F3445-6864-B14F-A29E-23391F292240}"/>
              </a:ext>
            </a:extLst>
          </p:cNvPr>
          <p:cNvCxnSpPr>
            <a:cxnSpLocks/>
          </p:cNvCxnSpPr>
          <p:nvPr/>
        </p:nvCxnSpPr>
        <p:spPr>
          <a:xfrm>
            <a:off x="0" y="3466047"/>
            <a:ext cx="12192000" cy="0"/>
          </a:xfrm>
          <a:prstGeom prst="line">
            <a:avLst/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Arc 9">
            <a:extLst>
              <a:ext uri="{FF2B5EF4-FFF2-40B4-BE49-F238E27FC236}">
                <a16:creationId xmlns:a16="http://schemas.microsoft.com/office/drawing/2014/main" id="{0635C588-6C55-2E43-BC88-265490E0DB15}"/>
              </a:ext>
            </a:extLst>
          </p:cNvPr>
          <p:cNvSpPr/>
          <p:nvPr/>
        </p:nvSpPr>
        <p:spPr>
          <a:xfrm rot="16200000">
            <a:off x="7700406" y="3466048"/>
            <a:ext cx="8983187" cy="8983187"/>
          </a:xfrm>
          <a:prstGeom prst="arc">
            <a:avLst>
              <a:gd name="adj1" fmla="val 17017882"/>
              <a:gd name="adj2" fmla="val 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390B095-2D96-6E43-929A-E80EF47856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5088" y="1503979"/>
            <a:ext cx="8349500" cy="1567689"/>
          </a:xfrm>
        </p:spPr>
        <p:txBody>
          <a:bodyPr vert="horz" anchor="b" anchorCtr="0"/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BE8C3BB-E299-1045-A7F2-6999E39196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5088" y="4517136"/>
            <a:ext cx="5638800" cy="2286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50FC71C6-D550-E544-AF63-6785F09DCC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088" y="4758997"/>
            <a:ext cx="5638800" cy="22453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i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D29EB13-6643-4A96-1F3D-34FE38CF341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6061" y="578755"/>
            <a:ext cx="1786364" cy="4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716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DB34A6-9C97-D944-BC35-27B2143CB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518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DB34A6-9C97-D944-BC35-27B2143CB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01D61D-0752-DE49-BDB6-75A071DE2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69432"/>
            <a:ext cx="8307388" cy="279132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800">
                <a:solidFill>
                  <a:srgbClr val="5009B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BB7AEB5F-5A12-4849-8321-7BDC78220BA5}"/>
              </a:ext>
            </a:extLst>
          </p:cNvPr>
          <p:cNvSpPr/>
          <p:nvPr/>
        </p:nvSpPr>
        <p:spPr>
          <a:xfrm>
            <a:off x="457200" y="1229951"/>
            <a:ext cx="713929" cy="542703"/>
          </a:xfrm>
          <a:custGeom>
            <a:avLst/>
            <a:gdLst>
              <a:gd name="connsiteX0" fmla="*/ 0 w 713929"/>
              <a:gd name="connsiteY0" fmla="*/ 405722 h 542703"/>
              <a:gd name="connsiteX1" fmla="*/ 44841 w 713929"/>
              <a:gd name="connsiteY1" fmla="*/ 276573 h 542703"/>
              <a:gd name="connsiteX2" fmla="*/ 205472 w 713929"/>
              <a:gd name="connsiteY2" fmla="*/ 0 h 542703"/>
              <a:gd name="connsiteX3" fmla="*/ 321414 w 713929"/>
              <a:gd name="connsiteY3" fmla="*/ 0 h 542703"/>
              <a:gd name="connsiteX4" fmla="*/ 187044 w 713929"/>
              <a:gd name="connsiteY4" fmla="*/ 281948 h 542703"/>
              <a:gd name="connsiteX5" fmla="*/ 279183 w 713929"/>
              <a:gd name="connsiteY5" fmla="*/ 405722 h 542703"/>
              <a:gd name="connsiteX6" fmla="*/ 139592 w 713929"/>
              <a:gd name="connsiteY6" fmla="*/ 542703 h 542703"/>
              <a:gd name="connsiteX7" fmla="*/ 0 w 713929"/>
              <a:gd name="connsiteY7" fmla="*/ 405722 h 542703"/>
              <a:gd name="connsiteX8" fmla="*/ 392515 w 713929"/>
              <a:gd name="connsiteY8" fmla="*/ 405722 h 542703"/>
              <a:gd name="connsiteX9" fmla="*/ 434592 w 713929"/>
              <a:gd name="connsiteY9" fmla="*/ 276573 h 542703"/>
              <a:gd name="connsiteX10" fmla="*/ 595376 w 713929"/>
              <a:gd name="connsiteY10" fmla="*/ 0 h 542703"/>
              <a:gd name="connsiteX11" fmla="*/ 713930 w 713929"/>
              <a:gd name="connsiteY11" fmla="*/ 0 h 542703"/>
              <a:gd name="connsiteX12" fmla="*/ 579559 w 713929"/>
              <a:gd name="connsiteY12" fmla="*/ 281948 h 542703"/>
              <a:gd name="connsiteX13" fmla="*/ 669088 w 713929"/>
              <a:gd name="connsiteY13" fmla="*/ 405722 h 542703"/>
              <a:gd name="connsiteX14" fmla="*/ 532107 w 713929"/>
              <a:gd name="connsiteY14" fmla="*/ 542703 h 542703"/>
              <a:gd name="connsiteX15" fmla="*/ 392515 w 713929"/>
              <a:gd name="connsiteY15" fmla="*/ 405722 h 542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13929" h="542703">
                <a:moveTo>
                  <a:pt x="0" y="405722"/>
                </a:moveTo>
                <a:cubicBezTo>
                  <a:pt x="0" y="368866"/>
                  <a:pt x="13207" y="324025"/>
                  <a:pt x="44841" y="276573"/>
                </a:cubicBezTo>
                <a:lnTo>
                  <a:pt x="205472" y="0"/>
                </a:lnTo>
                <a:lnTo>
                  <a:pt x="321414" y="0"/>
                </a:lnTo>
                <a:lnTo>
                  <a:pt x="187044" y="281948"/>
                </a:lnTo>
                <a:cubicBezTo>
                  <a:pt x="239717" y="302986"/>
                  <a:pt x="279183" y="347828"/>
                  <a:pt x="279183" y="405722"/>
                </a:cubicBezTo>
                <a:cubicBezTo>
                  <a:pt x="279183" y="482044"/>
                  <a:pt x="218525" y="542703"/>
                  <a:pt x="139592" y="542703"/>
                </a:cubicBezTo>
                <a:cubicBezTo>
                  <a:pt x="60659" y="542703"/>
                  <a:pt x="0" y="482044"/>
                  <a:pt x="0" y="405722"/>
                </a:cubicBezTo>
                <a:close/>
                <a:moveTo>
                  <a:pt x="392515" y="405722"/>
                </a:moveTo>
                <a:cubicBezTo>
                  <a:pt x="392515" y="368866"/>
                  <a:pt x="405722" y="324025"/>
                  <a:pt x="434592" y="276573"/>
                </a:cubicBezTo>
                <a:lnTo>
                  <a:pt x="595376" y="0"/>
                </a:lnTo>
                <a:lnTo>
                  <a:pt x="713930" y="0"/>
                </a:lnTo>
                <a:lnTo>
                  <a:pt x="579559" y="281948"/>
                </a:lnTo>
                <a:cubicBezTo>
                  <a:pt x="632232" y="302986"/>
                  <a:pt x="669088" y="347828"/>
                  <a:pt x="669088" y="405722"/>
                </a:cubicBezTo>
                <a:cubicBezTo>
                  <a:pt x="669088" y="482044"/>
                  <a:pt x="611194" y="542703"/>
                  <a:pt x="532107" y="542703"/>
                </a:cubicBezTo>
                <a:cubicBezTo>
                  <a:pt x="453020" y="542703"/>
                  <a:pt x="392515" y="482044"/>
                  <a:pt x="392515" y="405722"/>
                </a:cubicBezTo>
                <a:close/>
              </a:path>
            </a:pathLst>
          </a:custGeom>
          <a:solidFill>
            <a:schemeClr val="accent2"/>
          </a:solidFill>
          <a:ln w="153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6123F7A6-E84B-EBCA-8089-04AD763E783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4748317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Dark Purple">
    <p:bg>
      <p:bgPr>
        <a:solidFill>
          <a:srgbClr val="2B1B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DB34A6-9C97-D944-BC35-27B2143CB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3867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DB34A6-9C97-D944-BC35-27B2143CB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01D61D-0752-DE49-BDB6-75A071DE2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69432"/>
            <a:ext cx="8307388" cy="279132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EE62C7-B07C-3340-AA0C-134CBE664315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D20399E-76CF-2149-B65E-025FF7F7B6B3}"/>
              </a:ext>
            </a:extLst>
          </p:cNvPr>
          <p:cNvSpPr/>
          <p:nvPr/>
        </p:nvSpPr>
        <p:spPr>
          <a:xfrm>
            <a:off x="457200" y="1229951"/>
            <a:ext cx="713929" cy="542703"/>
          </a:xfrm>
          <a:custGeom>
            <a:avLst/>
            <a:gdLst>
              <a:gd name="connsiteX0" fmla="*/ 0 w 713929"/>
              <a:gd name="connsiteY0" fmla="*/ 405722 h 542703"/>
              <a:gd name="connsiteX1" fmla="*/ 44841 w 713929"/>
              <a:gd name="connsiteY1" fmla="*/ 276573 h 542703"/>
              <a:gd name="connsiteX2" fmla="*/ 205472 w 713929"/>
              <a:gd name="connsiteY2" fmla="*/ 0 h 542703"/>
              <a:gd name="connsiteX3" fmla="*/ 321414 w 713929"/>
              <a:gd name="connsiteY3" fmla="*/ 0 h 542703"/>
              <a:gd name="connsiteX4" fmla="*/ 187044 w 713929"/>
              <a:gd name="connsiteY4" fmla="*/ 281948 h 542703"/>
              <a:gd name="connsiteX5" fmla="*/ 279183 w 713929"/>
              <a:gd name="connsiteY5" fmla="*/ 405722 h 542703"/>
              <a:gd name="connsiteX6" fmla="*/ 139592 w 713929"/>
              <a:gd name="connsiteY6" fmla="*/ 542703 h 542703"/>
              <a:gd name="connsiteX7" fmla="*/ 0 w 713929"/>
              <a:gd name="connsiteY7" fmla="*/ 405722 h 542703"/>
              <a:gd name="connsiteX8" fmla="*/ 392515 w 713929"/>
              <a:gd name="connsiteY8" fmla="*/ 405722 h 542703"/>
              <a:gd name="connsiteX9" fmla="*/ 434592 w 713929"/>
              <a:gd name="connsiteY9" fmla="*/ 276573 h 542703"/>
              <a:gd name="connsiteX10" fmla="*/ 595376 w 713929"/>
              <a:gd name="connsiteY10" fmla="*/ 0 h 542703"/>
              <a:gd name="connsiteX11" fmla="*/ 713930 w 713929"/>
              <a:gd name="connsiteY11" fmla="*/ 0 h 542703"/>
              <a:gd name="connsiteX12" fmla="*/ 579559 w 713929"/>
              <a:gd name="connsiteY12" fmla="*/ 281948 h 542703"/>
              <a:gd name="connsiteX13" fmla="*/ 669088 w 713929"/>
              <a:gd name="connsiteY13" fmla="*/ 405722 h 542703"/>
              <a:gd name="connsiteX14" fmla="*/ 532107 w 713929"/>
              <a:gd name="connsiteY14" fmla="*/ 542703 h 542703"/>
              <a:gd name="connsiteX15" fmla="*/ 392515 w 713929"/>
              <a:gd name="connsiteY15" fmla="*/ 405722 h 542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13929" h="542703">
                <a:moveTo>
                  <a:pt x="0" y="405722"/>
                </a:moveTo>
                <a:cubicBezTo>
                  <a:pt x="0" y="368866"/>
                  <a:pt x="13207" y="324025"/>
                  <a:pt x="44841" y="276573"/>
                </a:cubicBezTo>
                <a:lnTo>
                  <a:pt x="205472" y="0"/>
                </a:lnTo>
                <a:lnTo>
                  <a:pt x="321414" y="0"/>
                </a:lnTo>
                <a:lnTo>
                  <a:pt x="187044" y="281948"/>
                </a:lnTo>
                <a:cubicBezTo>
                  <a:pt x="239717" y="302986"/>
                  <a:pt x="279183" y="347828"/>
                  <a:pt x="279183" y="405722"/>
                </a:cubicBezTo>
                <a:cubicBezTo>
                  <a:pt x="279183" y="482044"/>
                  <a:pt x="218525" y="542703"/>
                  <a:pt x="139592" y="542703"/>
                </a:cubicBezTo>
                <a:cubicBezTo>
                  <a:pt x="60659" y="542703"/>
                  <a:pt x="0" y="482044"/>
                  <a:pt x="0" y="405722"/>
                </a:cubicBezTo>
                <a:close/>
                <a:moveTo>
                  <a:pt x="392515" y="405722"/>
                </a:moveTo>
                <a:cubicBezTo>
                  <a:pt x="392515" y="368866"/>
                  <a:pt x="405722" y="324025"/>
                  <a:pt x="434592" y="276573"/>
                </a:cubicBezTo>
                <a:lnTo>
                  <a:pt x="595376" y="0"/>
                </a:lnTo>
                <a:lnTo>
                  <a:pt x="713930" y="0"/>
                </a:lnTo>
                <a:lnTo>
                  <a:pt x="579559" y="281948"/>
                </a:lnTo>
                <a:cubicBezTo>
                  <a:pt x="632232" y="302986"/>
                  <a:pt x="669088" y="347828"/>
                  <a:pt x="669088" y="405722"/>
                </a:cubicBezTo>
                <a:cubicBezTo>
                  <a:pt x="669088" y="482044"/>
                  <a:pt x="611194" y="542703"/>
                  <a:pt x="532107" y="542703"/>
                </a:cubicBezTo>
                <a:cubicBezTo>
                  <a:pt x="453020" y="542703"/>
                  <a:pt x="392515" y="482044"/>
                  <a:pt x="392515" y="405722"/>
                </a:cubicBezTo>
                <a:close/>
              </a:path>
            </a:pathLst>
          </a:custGeom>
          <a:solidFill>
            <a:srgbClr val="794CFF"/>
          </a:solidFill>
          <a:ln w="153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0B1E988-E9EB-CD4B-BB13-EB7636E3D89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A0E84BE-0926-3502-CA50-E29E674DCBD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42213181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rple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DB34A6-9C97-D944-BC35-27B2143CB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3867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DB34A6-9C97-D944-BC35-27B2143CB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01D61D-0752-DE49-BDB6-75A071DE2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69432"/>
            <a:ext cx="8307388" cy="279132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BEE62C7-B07C-3340-AA0C-134CBE664315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5D20399E-76CF-2149-B65E-025FF7F7B6B3}"/>
              </a:ext>
            </a:extLst>
          </p:cNvPr>
          <p:cNvSpPr/>
          <p:nvPr/>
        </p:nvSpPr>
        <p:spPr>
          <a:xfrm>
            <a:off x="457200" y="1229951"/>
            <a:ext cx="713929" cy="542703"/>
          </a:xfrm>
          <a:custGeom>
            <a:avLst/>
            <a:gdLst>
              <a:gd name="connsiteX0" fmla="*/ 0 w 713929"/>
              <a:gd name="connsiteY0" fmla="*/ 405722 h 542703"/>
              <a:gd name="connsiteX1" fmla="*/ 44841 w 713929"/>
              <a:gd name="connsiteY1" fmla="*/ 276573 h 542703"/>
              <a:gd name="connsiteX2" fmla="*/ 205472 w 713929"/>
              <a:gd name="connsiteY2" fmla="*/ 0 h 542703"/>
              <a:gd name="connsiteX3" fmla="*/ 321414 w 713929"/>
              <a:gd name="connsiteY3" fmla="*/ 0 h 542703"/>
              <a:gd name="connsiteX4" fmla="*/ 187044 w 713929"/>
              <a:gd name="connsiteY4" fmla="*/ 281948 h 542703"/>
              <a:gd name="connsiteX5" fmla="*/ 279183 w 713929"/>
              <a:gd name="connsiteY5" fmla="*/ 405722 h 542703"/>
              <a:gd name="connsiteX6" fmla="*/ 139592 w 713929"/>
              <a:gd name="connsiteY6" fmla="*/ 542703 h 542703"/>
              <a:gd name="connsiteX7" fmla="*/ 0 w 713929"/>
              <a:gd name="connsiteY7" fmla="*/ 405722 h 542703"/>
              <a:gd name="connsiteX8" fmla="*/ 392515 w 713929"/>
              <a:gd name="connsiteY8" fmla="*/ 405722 h 542703"/>
              <a:gd name="connsiteX9" fmla="*/ 434592 w 713929"/>
              <a:gd name="connsiteY9" fmla="*/ 276573 h 542703"/>
              <a:gd name="connsiteX10" fmla="*/ 595376 w 713929"/>
              <a:gd name="connsiteY10" fmla="*/ 0 h 542703"/>
              <a:gd name="connsiteX11" fmla="*/ 713930 w 713929"/>
              <a:gd name="connsiteY11" fmla="*/ 0 h 542703"/>
              <a:gd name="connsiteX12" fmla="*/ 579559 w 713929"/>
              <a:gd name="connsiteY12" fmla="*/ 281948 h 542703"/>
              <a:gd name="connsiteX13" fmla="*/ 669088 w 713929"/>
              <a:gd name="connsiteY13" fmla="*/ 405722 h 542703"/>
              <a:gd name="connsiteX14" fmla="*/ 532107 w 713929"/>
              <a:gd name="connsiteY14" fmla="*/ 542703 h 542703"/>
              <a:gd name="connsiteX15" fmla="*/ 392515 w 713929"/>
              <a:gd name="connsiteY15" fmla="*/ 405722 h 542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13929" h="542703">
                <a:moveTo>
                  <a:pt x="0" y="405722"/>
                </a:moveTo>
                <a:cubicBezTo>
                  <a:pt x="0" y="368866"/>
                  <a:pt x="13207" y="324025"/>
                  <a:pt x="44841" y="276573"/>
                </a:cubicBezTo>
                <a:lnTo>
                  <a:pt x="205472" y="0"/>
                </a:lnTo>
                <a:lnTo>
                  <a:pt x="321414" y="0"/>
                </a:lnTo>
                <a:lnTo>
                  <a:pt x="187044" y="281948"/>
                </a:lnTo>
                <a:cubicBezTo>
                  <a:pt x="239717" y="302986"/>
                  <a:pt x="279183" y="347828"/>
                  <a:pt x="279183" y="405722"/>
                </a:cubicBezTo>
                <a:cubicBezTo>
                  <a:pt x="279183" y="482044"/>
                  <a:pt x="218525" y="542703"/>
                  <a:pt x="139592" y="542703"/>
                </a:cubicBezTo>
                <a:cubicBezTo>
                  <a:pt x="60659" y="542703"/>
                  <a:pt x="0" y="482044"/>
                  <a:pt x="0" y="405722"/>
                </a:cubicBezTo>
                <a:close/>
                <a:moveTo>
                  <a:pt x="392515" y="405722"/>
                </a:moveTo>
                <a:cubicBezTo>
                  <a:pt x="392515" y="368866"/>
                  <a:pt x="405722" y="324025"/>
                  <a:pt x="434592" y="276573"/>
                </a:cubicBezTo>
                <a:lnTo>
                  <a:pt x="595376" y="0"/>
                </a:lnTo>
                <a:lnTo>
                  <a:pt x="713930" y="0"/>
                </a:lnTo>
                <a:lnTo>
                  <a:pt x="579559" y="281948"/>
                </a:lnTo>
                <a:cubicBezTo>
                  <a:pt x="632232" y="302986"/>
                  <a:pt x="669088" y="347828"/>
                  <a:pt x="669088" y="405722"/>
                </a:cubicBezTo>
                <a:cubicBezTo>
                  <a:pt x="669088" y="482044"/>
                  <a:pt x="611194" y="542703"/>
                  <a:pt x="532107" y="542703"/>
                </a:cubicBezTo>
                <a:cubicBezTo>
                  <a:pt x="453020" y="542703"/>
                  <a:pt x="392515" y="482044"/>
                  <a:pt x="392515" y="405722"/>
                </a:cubicBezTo>
                <a:close/>
              </a:path>
            </a:pathLst>
          </a:custGeom>
          <a:solidFill>
            <a:schemeClr val="bg1"/>
          </a:solidFill>
          <a:ln w="153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2275E4F-1DD8-BD4C-839F-E0B290CCE1F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31779F3-C469-2636-CCD6-86F5AF43239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1122258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6BD2943-DB3A-6F45-8E73-6B1C54FB6CB8}"/>
              </a:ext>
            </a:extLst>
          </p:cNvPr>
          <p:cNvSpPr/>
          <p:nvPr/>
        </p:nvSpPr>
        <p:spPr>
          <a:xfrm>
            <a:off x="0" y="0"/>
            <a:ext cx="12192000" cy="1207008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6710D8F-0C63-AC41-AED8-7250F0DC1B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2913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6710D8F-0C63-AC41-AED8-7250F0DC1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793E11-CA7F-4409-AF5F-4334AE726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D28C7D-8653-A64D-9D01-E67E0D43199F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D13FCD8-11F4-9046-9E35-10C205A4D8E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94048"/>
            <a:ext cx="11292840" cy="431305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2D96444-6307-6846-757F-F0E3C5533CC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205484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8E4D345-2197-6D4C-8F0D-3BC6B2AB1F25}"/>
              </a:ext>
            </a:extLst>
          </p:cNvPr>
          <p:cNvSpPr/>
          <p:nvPr/>
        </p:nvSpPr>
        <p:spPr>
          <a:xfrm>
            <a:off x="0" y="0"/>
            <a:ext cx="12192000" cy="1207008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63532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7237868D-9B84-AE4F-B833-8E8C7F5852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414C1B55-FB49-1B45-80DF-F67865047AC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7199" y="1691640"/>
            <a:ext cx="5529263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3CE53746-D2D1-A542-9C3B-72127945888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15063" y="1691640"/>
            <a:ext cx="5529263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D10CDB-97ED-C7F6-7D61-9D593116A4A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931057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41B14E8-876B-374C-8CD3-A164EDD6BA34}"/>
              </a:ext>
            </a:extLst>
          </p:cNvPr>
          <p:cNvSpPr/>
          <p:nvPr/>
        </p:nvSpPr>
        <p:spPr>
          <a:xfrm>
            <a:off x="0" y="0"/>
            <a:ext cx="12192000" cy="1207008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92488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581CAC1E-A9D0-C348-9CA5-ACB7F2A85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C1C43114-B0E1-2846-9078-B6D57EAF706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57200" y="1691640"/>
            <a:ext cx="3609976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021BE228-66AE-6843-8E02-F38AB265409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95273" y="1691640"/>
            <a:ext cx="3609976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9AB33A90-9E8D-1947-98FD-768EFEB80DE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33346" y="1691640"/>
            <a:ext cx="3598406" cy="431546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6450561-FEC9-12F0-41A9-75A8982607B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7931177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5CB2052-3245-174F-AC3A-24DE254967CC}"/>
              </a:ext>
            </a:extLst>
          </p:cNvPr>
          <p:cNvSpPr/>
          <p:nvPr/>
        </p:nvSpPr>
        <p:spPr>
          <a:xfrm>
            <a:off x="0" y="0"/>
            <a:ext cx="12192000" cy="1207008"/>
          </a:xfrm>
          <a:prstGeom prst="rect">
            <a:avLst/>
          </a:prstGeom>
          <a:solidFill>
            <a:srgbClr val="E1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B0DF66-7FB8-254D-86AC-C0A1063CF6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2702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B0DF66-7FB8-254D-86AC-C0A1063CF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E4186CE-9B9E-5841-BFD2-4B0A423A8D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E38FF19-B9DC-BEC5-6922-35EBAAFCB8B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EE01E8D-84E1-AD12-A782-E87DA9984AC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75443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40A5DD05-C4B6-9843-A62D-C443760176FF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48289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93CE002-5F00-5D51-39E4-CDE4D7B5FA5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21135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545A1531-CBA7-6DF4-28FE-E74AA1D63197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093980" y="1691641"/>
            <a:ext cx="2640820" cy="4315460"/>
          </a:xfrm>
        </p:spPr>
        <p:txBody>
          <a:bodyPr/>
          <a:lstStyle>
            <a:lvl1pPr>
              <a:spcBef>
                <a:spcPts val="1600"/>
              </a:spcBef>
              <a:defRPr sz="1600"/>
            </a:lvl1pPr>
            <a:lvl2pPr>
              <a:spcBef>
                <a:spcPts val="1600"/>
              </a:spcBef>
              <a:defRPr sz="1600"/>
            </a:lvl2pPr>
            <a:lvl3pPr>
              <a:spcBef>
                <a:spcPts val="1600"/>
              </a:spcBef>
              <a:defRPr sz="1600"/>
            </a:lvl3pPr>
            <a:lvl4pPr>
              <a:spcBef>
                <a:spcPts val="1600"/>
              </a:spcBef>
              <a:defRPr sz="1600"/>
            </a:lvl4pPr>
            <a:lvl5pPr>
              <a:spcBef>
                <a:spcPts val="1600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9557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10F62E-226D-824B-B8DB-2C89D7A65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E593D0-EE65-A94C-979B-4EB5160A52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3550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4F42A18-507B-2A47-B6EA-97335445F0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550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136F8D8-9E9A-7C43-880A-D35701E3268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6137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ADE556B-B119-6F48-A31A-9BF6AEDC91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9118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BE864A2-9804-E543-A5CE-8D60A0A295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79118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419F68C-84F4-CA45-BF35-6C80E7E9133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761705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1CB1C99-74B5-174F-98C0-171233B6602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08035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24E4549-6E6F-7745-AB1B-8EDC747F8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08035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9D27A29-F9E8-6346-A5EF-5DA6EA07F1C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690622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EBB509A-6317-3047-B130-69533D44DA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16928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7C8E29D-1DF4-E64B-B1A0-057FB56DD8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16928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0BD9928C-5B7E-4748-9D80-5DE690EE3BC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9515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E3CBF30-81DD-0A43-8A15-60197C866C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39170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199B807F-816B-6C48-B219-89F944F4EBA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39170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8A8BF656-1C8C-6649-A301-D3C1DB5EA16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521757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97B3CF-F3AF-0847-973F-35EB62E0DB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054738" y="2762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000D23D-524D-D842-BDC0-1528A56D18D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054738" y="3012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8ACF24C7-C577-1740-83D4-188B3F6A4CC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10437325" y="1727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97CDEC1-E73D-F846-83AB-C6232AFCC7A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3550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A0FC742-28EF-1F4F-98A3-67EDF60D95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3550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AC2C9A8D-A59D-3545-BBA0-D20E682673F9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46137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A06A56F-E43A-8E47-894E-4A4CED51900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379118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3273EA5D-FA5D-204D-B343-A30D7C321D2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379118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820AB5A6-040E-7444-A303-397B423E04B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761705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511F3BD3-8995-1046-8A62-EA88A88290B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08035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9600E0F-D874-F846-849D-FD682311E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08035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C76A1F97-0A75-BD4D-BA6D-656B14A955D1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90622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CD916EA2-8B5B-7749-9833-BD3AAEB0BA6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216928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2B761728-8BB5-7C4B-A669-4B3DA236D65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16928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35" name="Picture Placeholder 7">
            <a:extLst>
              <a:ext uri="{FF2B5EF4-FFF2-40B4-BE49-F238E27FC236}">
                <a16:creationId xmlns:a16="http://schemas.microsoft.com/office/drawing/2014/main" id="{468D7D8C-1D74-7749-ACAE-DD956F429E07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599515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5115002D-A2C1-3D47-8436-81012F937E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139170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52CA7F72-BC77-AB40-96F2-E54F449FEBA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9170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C2C35CCF-59F6-C041-BA4A-796054E77C0F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8521757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EE03E675-6CAE-E140-A3D4-6495DA757EA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54738" y="4905160"/>
            <a:ext cx="1679575" cy="250626"/>
          </a:xfrm>
        </p:spPr>
        <p:txBody>
          <a:bodyPr/>
          <a:lstStyle>
            <a:lvl1pPr algn="ctr">
              <a:defRPr sz="12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nam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B051DED-7DBA-954E-84D8-696F32F899B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54738" y="5155786"/>
            <a:ext cx="1679575" cy="428914"/>
          </a:xfrm>
        </p:spPr>
        <p:txBody>
          <a:bodyPr/>
          <a:lstStyle>
            <a:lvl1pPr algn="ctr">
              <a:defRPr sz="11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1" name="Picture Placeholder 7">
            <a:extLst>
              <a:ext uri="{FF2B5EF4-FFF2-40B4-BE49-F238E27FC236}">
                <a16:creationId xmlns:a16="http://schemas.microsoft.com/office/drawing/2014/main" id="{CFF36F95-2DB5-7F47-A3F3-20BF39ADC5A8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437325" y="3870200"/>
            <a:ext cx="914400" cy="914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25380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DB34A6-9C97-D944-BC35-27B2143CB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518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DB34A6-9C97-D944-BC35-27B2143CB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01D61D-0752-DE49-BDB6-75A071DE2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69432"/>
            <a:ext cx="8307388" cy="279132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8000">
                <a:solidFill>
                  <a:srgbClr val="5009B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0749313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Purple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DB34A6-9C97-D944-BC35-27B2143CB8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38677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DB34A6-9C97-D944-BC35-27B2143CB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401D61D-0752-DE49-BDB6-75A071DE2E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069432"/>
            <a:ext cx="8307388" cy="2791326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2275E4F-1DD8-BD4C-839F-E0B290CCE1F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FA824AD-9AF3-884E-A622-DF0B54F24716}"/>
              </a:ext>
            </a:extLst>
          </p:cNvPr>
          <p:cNvSpPr txBox="1"/>
          <p:nvPr userDrawn="1"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1279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Purple Linear Supergraphic">
    <p:bg>
      <p:bgPr>
        <a:solidFill>
          <a:srgbClr val="5009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814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rc 6">
            <a:extLst>
              <a:ext uri="{FF2B5EF4-FFF2-40B4-BE49-F238E27FC236}">
                <a16:creationId xmlns:a16="http://schemas.microsoft.com/office/drawing/2014/main" id="{620EC642-4CC9-DC4D-BE90-46572834EF99}"/>
              </a:ext>
            </a:extLst>
          </p:cNvPr>
          <p:cNvSpPr/>
          <p:nvPr/>
        </p:nvSpPr>
        <p:spPr>
          <a:xfrm rot="10800000">
            <a:off x="7700406" y="-5517141"/>
            <a:ext cx="8983187" cy="8983187"/>
          </a:xfrm>
          <a:prstGeom prst="arc">
            <a:avLst>
              <a:gd name="adj1" fmla="val 16200000"/>
              <a:gd name="adj2" fmla="val 20840015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9F3445-6864-B14F-A29E-23391F292240}"/>
              </a:ext>
            </a:extLst>
          </p:cNvPr>
          <p:cNvCxnSpPr>
            <a:cxnSpLocks/>
          </p:cNvCxnSpPr>
          <p:nvPr/>
        </p:nvCxnSpPr>
        <p:spPr>
          <a:xfrm>
            <a:off x="0" y="3466047"/>
            <a:ext cx="12192000" cy="0"/>
          </a:xfrm>
          <a:prstGeom prst="line">
            <a:avLst/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Arc 9">
            <a:extLst>
              <a:ext uri="{FF2B5EF4-FFF2-40B4-BE49-F238E27FC236}">
                <a16:creationId xmlns:a16="http://schemas.microsoft.com/office/drawing/2014/main" id="{0635C588-6C55-2E43-BC88-265490E0DB15}"/>
              </a:ext>
            </a:extLst>
          </p:cNvPr>
          <p:cNvSpPr/>
          <p:nvPr/>
        </p:nvSpPr>
        <p:spPr>
          <a:xfrm rot="16200000">
            <a:off x="7700406" y="3466048"/>
            <a:ext cx="8983187" cy="8983187"/>
          </a:xfrm>
          <a:prstGeom prst="arc">
            <a:avLst>
              <a:gd name="adj1" fmla="val 17017882"/>
              <a:gd name="adj2" fmla="val 0"/>
            </a:avLst>
          </a:prstGeom>
          <a:noFill/>
          <a:ln w="19050">
            <a:gradFill flip="none" rotWithShape="1">
              <a:gsLst>
                <a:gs pos="50000">
                  <a:srgbClr val="794CFF"/>
                </a:gs>
                <a:gs pos="100000">
                  <a:srgbClr val="00BBBA"/>
                </a:gs>
                <a:gs pos="0">
                  <a:srgbClr val="44B8F3"/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solidFill>
                <a:schemeClr val="lt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38087043-B1C0-F448-917B-5850AF56263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5088" y="578424"/>
            <a:ext cx="1785575" cy="384339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589C51D4-69ED-7B4E-A17D-1AE8A998B92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198" y="3759716"/>
            <a:ext cx="9366251" cy="622714"/>
          </a:xfrm>
        </p:spPr>
        <p:txBody>
          <a:bodyPr vert="horz" anchor="t"/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302C2242-2804-EE44-ADAF-48FD023883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198" y="5382895"/>
            <a:ext cx="5650832" cy="228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2B2F6DB0-6DE3-A540-B328-7DCA1A7E72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611495"/>
            <a:ext cx="5638800" cy="2245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Elevance Sans" pitchFamily="2" charset="77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4334622-A469-EA5C-00E1-97753601B4A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996061" y="578755"/>
            <a:ext cx="1786364" cy="4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633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291589-CD70-D544-A42B-7CBFCA4D12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95310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291589-CD70-D544-A42B-7CBFCA4D1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9B01FEFA-64F9-B5E6-D11D-4882880D2C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58626" y="3162659"/>
            <a:ext cx="2479112" cy="643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2315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">
            <a:extLst>
              <a:ext uri="{FF2B5EF4-FFF2-40B4-BE49-F238E27FC236}">
                <a16:creationId xmlns:a16="http://schemas.microsoft.com/office/drawing/2014/main" id="{F03F2C30-D4C2-8C47-AE40-D10806BB41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0080" y="1828800"/>
            <a:ext cx="5486400" cy="3657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">
            <a:extLst>
              <a:ext uri="{FF2B5EF4-FFF2-40B4-BE49-F238E27FC236}">
                <a16:creationId xmlns:a16="http://schemas.microsoft.com/office/drawing/2014/main" id="{D41C7282-3E5D-E245-98BA-F00051A8A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640080"/>
            <a:ext cx="10908792" cy="5486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114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6433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Right">
            <a:extLst>
              <a:ext uri="{FF2B5EF4-FFF2-40B4-BE49-F238E27FC236}">
                <a16:creationId xmlns:a16="http://schemas.microsoft.com/office/drawing/2014/main" id="{C7164372-2E35-CA4C-947C-1B337BE155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19672" y="1828800"/>
            <a:ext cx="5029200" cy="3661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ext Placeholder Left">
            <a:extLst>
              <a:ext uri="{FF2B5EF4-FFF2-40B4-BE49-F238E27FC236}">
                <a16:creationId xmlns:a16="http://schemas.microsoft.com/office/drawing/2014/main" id="{6FBC8E54-6EA9-3342-9294-07817A0CBF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0079" y="1828800"/>
            <a:ext cx="5029200" cy="3661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">
            <a:extLst>
              <a:ext uri="{FF2B5EF4-FFF2-40B4-BE49-F238E27FC236}">
                <a16:creationId xmlns:a16="http://schemas.microsoft.com/office/drawing/2014/main" id="{BFD03251-64CE-1B48-87E3-6AED9F0C6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640080"/>
            <a:ext cx="10908792" cy="5486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114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0629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 +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Right">
            <a:extLst>
              <a:ext uri="{FF2B5EF4-FFF2-40B4-BE49-F238E27FC236}">
                <a16:creationId xmlns:a16="http://schemas.microsoft.com/office/drawing/2014/main" id="{95F02DA6-58F7-2D44-A860-9EAE82A0A1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89704" y="1828800"/>
            <a:ext cx="3200400" cy="3661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Left">
            <a:extLst>
              <a:ext uri="{FF2B5EF4-FFF2-40B4-BE49-F238E27FC236}">
                <a16:creationId xmlns:a16="http://schemas.microsoft.com/office/drawing/2014/main" id="{E207FC6C-94F8-414E-AEB3-CD639F9A8C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079" y="1828800"/>
            <a:ext cx="3200400" cy="36611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">
            <a:extLst>
              <a:ext uri="{FF2B5EF4-FFF2-40B4-BE49-F238E27FC236}">
                <a16:creationId xmlns:a16="http://schemas.microsoft.com/office/drawing/2014/main" id="{D41C7282-3E5D-E245-98BA-F00051A8A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640080"/>
            <a:ext cx="10908792" cy="54864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114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726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158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5EBB8B-1207-DF46-B0BB-2ECF56904B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594C2A4-538B-4E49-80F8-EE4DD8A384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12192000" cy="6858000"/>
          </a:xfrm>
          <a:gradFill>
            <a:gsLst>
              <a:gs pos="0">
                <a:srgbClr val="000000">
                  <a:alpha val="34000"/>
                </a:srgbClr>
              </a:gs>
              <a:gs pos="100000">
                <a:srgbClr val="000000">
                  <a:alpha val="34742"/>
                </a:srgbClr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lvl1pPr>
              <a:defRPr lang="en-US"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F9BAEB-A94F-439F-B9CE-0030334E19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0307" y="4517136"/>
            <a:ext cx="5650832" cy="228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88294A5-A4D0-A14B-A725-86332813F1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0307" y="4758997"/>
            <a:ext cx="5638800" cy="2245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800" b="0" i="0">
                <a:solidFill>
                  <a:schemeClr val="bg1"/>
                </a:solidFill>
                <a:latin typeface="Elevance Sans" pitchFamily="2" charset="77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CEDBC19-C442-234E-A082-5522435460F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0307" y="2587226"/>
            <a:ext cx="8354282" cy="1572610"/>
          </a:xfrm>
        </p:spPr>
        <p:txBody>
          <a:bodyPr vert="horz" anchor="b" anchorCtr="0"/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40DAE6FE-4453-6A49-BCBC-8EA029D4F6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96061" y="578755"/>
            <a:ext cx="1785077" cy="463366"/>
          </a:xfrm>
          <a:custGeom>
            <a:avLst/>
            <a:gdLst>
              <a:gd name="connsiteX0" fmla="*/ 609398 w 1785077"/>
              <a:gd name="connsiteY0" fmla="*/ 422691 h 463366"/>
              <a:gd name="connsiteX1" fmla="*/ 609398 w 1785077"/>
              <a:gd name="connsiteY1" fmla="*/ 445690 h 463366"/>
              <a:gd name="connsiteX2" fmla="*/ 628578 w 1785077"/>
              <a:gd name="connsiteY2" fmla="*/ 445690 h 463366"/>
              <a:gd name="connsiteX3" fmla="*/ 628578 w 1785077"/>
              <a:gd name="connsiteY3" fmla="*/ 445720 h 463366"/>
              <a:gd name="connsiteX4" fmla="*/ 642372 w 1785077"/>
              <a:gd name="connsiteY4" fmla="*/ 434206 h 463366"/>
              <a:gd name="connsiteX5" fmla="*/ 628578 w 1785077"/>
              <a:gd name="connsiteY5" fmla="*/ 422691 h 463366"/>
              <a:gd name="connsiteX6" fmla="*/ 1511976 w 1785077"/>
              <a:gd name="connsiteY6" fmla="*/ 407797 h 463366"/>
              <a:gd name="connsiteX7" fmla="*/ 1493932 w 1785077"/>
              <a:gd name="connsiteY7" fmla="*/ 427387 h 463366"/>
              <a:gd name="connsiteX8" fmla="*/ 1511976 w 1785077"/>
              <a:gd name="connsiteY8" fmla="*/ 447126 h 463366"/>
              <a:gd name="connsiteX9" fmla="*/ 1530019 w 1785077"/>
              <a:gd name="connsiteY9" fmla="*/ 427387 h 463366"/>
              <a:gd name="connsiteX10" fmla="*/ 1511976 w 1785077"/>
              <a:gd name="connsiteY10" fmla="*/ 407797 h 463366"/>
              <a:gd name="connsiteX11" fmla="*/ 1181094 w 1785077"/>
              <a:gd name="connsiteY11" fmla="*/ 407797 h 463366"/>
              <a:gd name="connsiteX12" fmla="*/ 1163051 w 1785077"/>
              <a:gd name="connsiteY12" fmla="*/ 427387 h 463366"/>
              <a:gd name="connsiteX13" fmla="*/ 1181094 w 1785077"/>
              <a:gd name="connsiteY13" fmla="*/ 447126 h 463366"/>
              <a:gd name="connsiteX14" fmla="*/ 1199137 w 1785077"/>
              <a:gd name="connsiteY14" fmla="*/ 427387 h 463366"/>
              <a:gd name="connsiteX15" fmla="*/ 1181094 w 1785077"/>
              <a:gd name="connsiteY15" fmla="*/ 407797 h 463366"/>
              <a:gd name="connsiteX16" fmla="*/ 1051680 w 1785077"/>
              <a:gd name="connsiteY16" fmla="*/ 407797 h 463366"/>
              <a:gd name="connsiteX17" fmla="*/ 1033637 w 1785077"/>
              <a:gd name="connsiteY17" fmla="*/ 427387 h 463366"/>
              <a:gd name="connsiteX18" fmla="*/ 1051680 w 1785077"/>
              <a:gd name="connsiteY18" fmla="*/ 447126 h 463366"/>
              <a:gd name="connsiteX19" fmla="*/ 1069723 w 1785077"/>
              <a:gd name="connsiteY19" fmla="*/ 427387 h 463366"/>
              <a:gd name="connsiteX20" fmla="*/ 1051680 w 1785077"/>
              <a:gd name="connsiteY20" fmla="*/ 407797 h 463366"/>
              <a:gd name="connsiteX21" fmla="*/ 859459 w 1785077"/>
              <a:gd name="connsiteY21" fmla="*/ 407797 h 463366"/>
              <a:gd name="connsiteX22" fmla="*/ 841416 w 1785077"/>
              <a:gd name="connsiteY22" fmla="*/ 427387 h 463366"/>
              <a:gd name="connsiteX23" fmla="*/ 859459 w 1785077"/>
              <a:gd name="connsiteY23" fmla="*/ 447126 h 463366"/>
              <a:gd name="connsiteX24" fmla="*/ 877502 w 1785077"/>
              <a:gd name="connsiteY24" fmla="*/ 427387 h 463366"/>
              <a:gd name="connsiteX25" fmla="*/ 859459 w 1785077"/>
              <a:gd name="connsiteY25" fmla="*/ 407797 h 463366"/>
              <a:gd name="connsiteX26" fmla="*/ 1432981 w 1785077"/>
              <a:gd name="connsiteY26" fmla="*/ 406242 h 463366"/>
              <a:gd name="connsiteX27" fmla="*/ 1416643 w 1785077"/>
              <a:gd name="connsiteY27" fmla="*/ 420149 h 463366"/>
              <a:gd name="connsiteX28" fmla="*/ 1449169 w 1785077"/>
              <a:gd name="connsiteY28" fmla="*/ 420149 h 463366"/>
              <a:gd name="connsiteX29" fmla="*/ 1432981 w 1785077"/>
              <a:gd name="connsiteY29" fmla="*/ 406242 h 463366"/>
              <a:gd name="connsiteX30" fmla="*/ 705000 w 1785077"/>
              <a:gd name="connsiteY30" fmla="*/ 406242 h 463366"/>
              <a:gd name="connsiteX31" fmla="*/ 688662 w 1785077"/>
              <a:gd name="connsiteY31" fmla="*/ 420149 h 463366"/>
              <a:gd name="connsiteX32" fmla="*/ 721188 w 1785077"/>
              <a:gd name="connsiteY32" fmla="*/ 420149 h 463366"/>
              <a:gd name="connsiteX33" fmla="*/ 705000 w 1785077"/>
              <a:gd name="connsiteY33" fmla="*/ 406242 h 463366"/>
              <a:gd name="connsiteX34" fmla="*/ 986749 w 1785077"/>
              <a:gd name="connsiteY34" fmla="*/ 393441 h 463366"/>
              <a:gd name="connsiteX35" fmla="*/ 1004074 w 1785077"/>
              <a:gd name="connsiteY35" fmla="*/ 393441 h 463366"/>
              <a:gd name="connsiteX36" fmla="*/ 1004074 w 1785077"/>
              <a:gd name="connsiteY36" fmla="*/ 434654 h 463366"/>
              <a:gd name="connsiteX37" fmla="*/ 1004074 w 1785077"/>
              <a:gd name="connsiteY37" fmla="*/ 461482 h 463366"/>
              <a:gd name="connsiteX38" fmla="*/ 986749 w 1785077"/>
              <a:gd name="connsiteY38" fmla="*/ 461482 h 463366"/>
              <a:gd name="connsiteX39" fmla="*/ 904881 w 1785077"/>
              <a:gd name="connsiteY39" fmla="*/ 393441 h 463366"/>
              <a:gd name="connsiteX40" fmla="*/ 923912 w 1785077"/>
              <a:gd name="connsiteY40" fmla="*/ 393441 h 463366"/>
              <a:gd name="connsiteX41" fmla="*/ 941237 w 1785077"/>
              <a:gd name="connsiteY41" fmla="*/ 445989 h 463366"/>
              <a:gd name="connsiteX42" fmla="*/ 958861 w 1785077"/>
              <a:gd name="connsiteY42" fmla="*/ 393441 h 463366"/>
              <a:gd name="connsiteX43" fmla="*/ 976635 w 1785077"/>
              <a:gd name="connsiteY43" fmla="*/ 393441 h 463366"/>
              <a:gd name="connsiteX44" fmla="*/ 952069 w 1785077"/>
              <a:gd name="connsiteY44" fmla="*/ 461482 h 463366"/>
              <a:gd name="connsiteX45" fmla="*/ 929477 w 1785077"/>
              <a:gd name="connsiteY45" fmla="*/ 461482 h 463366"/>
              <a:gd name="connsiteX46" fmla="*/ 1509133 w 1785077"/>
              <a:gd name="connsiteY46" fmla="*/ 391646 h 463366"/>
              <a:gd name="connsiteX47" fmla="*/ 1530019 w 1785077"/>
              <a:gd name="connsiteY47" fmla="*/ 402443 h 463366"/>
              <a:gd name="connsiteX48" fmla="*/ 1530019 w 1785077"/>
              <a:gd name="connsiteY48" fmla="*/ 393471 h 463366"/>
              <a:gd name="connsiteX49" fmla="*/ 1547344 w 1785077"/>
              <a:gd name="connsiteY49" fmla="*/ 393471 h 463366"/>
              <a:gd name="connsiteX50" fmla="*/ 1547344 w 1785077"/>
              <a:gd name="connsiteY50" fmla="*/ 461512 h 463366"/>
              <a:gd name="connsiteX51" fmla="*/ 1530019 w 1785077"/>
              <a:gd name="connsiteY51" fmla="*/ 461512 h 463366"/>
              <a:gd name="connsiteX52" fmla="*/ 1530019 w 1785077"/>
              <a:gd name="connsiteY52" fmla="*/ 451851 h 463366"/>
              <a:gd name="connsiteX53" fmla="*/ 1509133 w 1785077"/>
              <a:gd name="connsiteY53" fmla="*/ 463366 h 463366"/>
              <a:gd name="connsiteX54" fmla="*/ 1476607 w 1785077"/>
              <a:gd name="connsiteY54" fmla="*/ 427446 h 463366"/>
              <a:gd name="connsiteX55" fmla="*/ 1509133 w 1785077"/>
              <a:gd name="connsiteY55" fmla="*/ 391646 h 463366"/>
              <a:gd name="connsiteX56" fmla="*/ 1432681 w 1785077"/>
              <a:gd name="connsiteY56" fmla="*/ 391646 h 463366"/>
              <a:gd name="connsiteX57" fmla="*/ 1467062 w 1785077"/>
              <a:gd name="connsiteY57" fmla="*/ 426160 h 463366"/>
              <a:gd name="connsiteX58" fmla="*/ 1466673 w 1785077"/>
              <a:gd name="connsiteY58" fmla="*/ 432232 h 463366"/>
              <a:gd name="connsiteX59" fmla="*/ 1416224 w 1785077"/>
              <a:gd name="connsiteY59" fmla="*/ 432232 h 463366"/>
              <a:gd name="connsiteX60" fmla="*/ 1435554 w 1785077"/>
              <a:gd name="connsiteY60" fmla="*/ 448143 h 463366"/>
              <a:gd name="connsiteX61" fmla="*/ 1452310 w 1785077"/>
              <a:gd name="connsiteY61" fmla="*/ 441055 h 463366"/>
              <a:gd name="connsiteX62" fmla="*/ 1461257 w 1785077"/>
              <a:gd name="connsiteY62" fmla="*/ 452988 h 463366"/>
              <a:gd name="connsiteX63" fmla="*/ 1434955 w 1785077"/>
              <a:gd name="connsiteY63" fmla="*/ 463366 h 463366"/>
              <a:gd name="connsiteX64" fmla="*/ 1398450 w 1785077"/>
              <a:gd name="connsiteY64" fmla="*/ 427446 h 463366"/>
              <a:gd name="connsiteX65" fmla="*/ 1432681 w 1785077"/>
              <a:gd name="connsiteY65" fmla="*/ 391646 h 463366"/>
              <a:gd name="connsiteX66" fmla="*/ 1178252 w 1785077"/>
              <a:gd name="connsiteY66" fmla="*/ 391646 h 463366"/>
              <a:gd name="connsiteX67" fmla="*/ 1199137 w 1785077"/>
              <a:gd name="connsiteY67" fmla="*/ 402443 h 463366"/>
              <a:gd name="connsiteX68" fmla="*/ 1199137 w 1785077"/>
              <a:gd name="connsiteY68" fmla="*/ 393471 h 463366"/>
              <a:gd name="connsiteX69" fmla="*/ 1216463 w 1785077"/>
              <a:gd name="connsiteY69" fmla="*/ 393471 h 463366"/>
              <a:gd name="connsiteX70" fmla="*/ 1216463 w 1785077"/>
              <a:gd name="connsiteY70" fmla="*/ 461512 h 463366"/>
              <a:gd name="connsiteX71" fmla="*/ 1199137 w 1785077"/>
              <a:gd name="connsiteY71" fmla="*/ 461512 h 463366"/>
              <a:gd name="connsiteX72" fmla="*/ 1199137 w 1785077"/>
              <a:gd name="connsiteY72" fmla="*/ 451851 h 463366"/>
              <a:gd name="connsiteX73" fmla="*/ 1178252 w 1785077"/>
              <a:gd name="connsiteY73" fmla="*/ 463366 h 463366"/>
              <a:gd name="connsiteX74" fmla="*/ 1145726 w 1785077"/>
              <a:gd name="connsiteY74" fmla="*/ 427446 h 463366"/>
              <a:gd name="connsiteX75" fmla="*/ 1178252 w 1785077"/>
              <a:gd name="connsiteY75" fmla="*/ 391646 h 463366"/>
              <a:gd name="connsiteX76" fmla="*/ 856616 w 1785077"/>
              <a:gd name="connsiteY76" fmla="*/ 391646 h 463366"/>
              <a:gd name="connsiteX77" fmla="*/ 877502 w 1785077"/>
              <a:gd name="connsiteY77" fmla="*/ 402443 h 463366"/>
              <a:gd name="connsiteX78" fmla="*/ 877502 w 1785077"/>
              <a:gd name="connsiteY78" fmla="*/ 393471 h 463366"/>
              <a:gd name="connsiteX79" fmla="*/ 894827 w 1785077"/>
              <a:gd name="connsiteY79" fmla="*/ 393471 h 463366"/>
              <a:gd name="connsiteX80" fmla="*/ 894827 w 1785077"/>
              <a:gd name="connsiteY80" fmla="*/ 461512 h 463366"/>
              <a:gd name="connsiteX81" fmla="*/ 877502 w 1785077"/>
              <a:gd name="connsiteY81" fmla="*/ 461512 h 463366"/>
              <a:gd name="connsiteX82" fmla="*/ 877502 w 1785077"/>
              <a:gd name="connsiteY82" fmla="*/ 451851 h 463366"/>
              <a:gd name="connsiteX83" fmla="*/ 856616 w 1785077"/>
              <a:gd name="connsiteY83" fmla="*/ 463366 h 463366"/>
              <a:gd name="connsiteX84" fmla="*/ 824091 w 1785077"/>
              <a:gd name="connsiteY84" fmla="*/ 427446 h 463366"/>
              <a:gd name="connsiteX85" fmla="*/ 856616 w 1785077"/>
              <a:gd name="connsiteY85" fmla="*/ 391646 h 463366"/>
              <a:gd name="connsiteX86" fmla="*/ 704701 w 1785077"/>
              <a:gd name="connsiteY86" fmla="*/ 391646 h 463366"/>
              <a:gd name="connsiteX87" fmla="*/ 739081 w 1785077"/>
              <a:gd name="connsiteY87" fmla="*/ 426160 h 463366"/>
              <a:gd name="connsiteX88" fmla="*/ 738692 w 1785077"/>
              <a:gd name="connsiteY88" fmla="*/ 432232 h 463366"/>
              <a:gd name="connsiteX89" fmla="*/ 688243 w 1785077"/>
              <a:gd name="connsiteY89" fmla="*/ 432232 h 463366"/>
              <a:gd name="connsiteX90" fmla="*/ 707573 w 1785077"/>
              <a:gd name="connsiteY90" fmla="*/ 448143 h 463366"/>
              <a:gd name="connsiteX91" fmla="*/ 724330 w 1785077"/>
              <a:gd name="connsiteY91" fmla="*/ 441055 h 463366"/>
              <a:gd name="connsiteX92" fmla="*/ 733276 w 1785077"/>
              <a:gd name="connsiteY92" fmla="*/ 452988 h 463366"/>
              <a:gd name="connsiteX93" fmla="*/ 706975 w 1785077"/>
              <a:gd name="connsiteY93" fmla="*/ 463366 h 463366"/>
              <a:gd name="connsiteX94" fmla="*/ 670469 w 1785077"/>
              <a:gd name="connsiteY94" fmla="*/ 427446 h 463366"/>
              <a:gd name="connsiteX95" fmla="*/ 704701 w 1785077"/>
              <a:gd name="connsiteY95" fmla="*/ 391646 h 463366"/>
              <a:gd name="connsiteX96" fmla="*/ 1051680 w 1785077"/>
              <a:gd name="connsiteY96" fmla="*/ 391616 h 463366"/>
              <a:gd name="connsiteX97" fmla="*/ 1087048 w 1785077"/>
              <a:gd name="connsiteY97" fmla="*/ 427417 h 463366"/>
              <a:gd name="connsiteX98" fmla="*/ 1051680 w 1785077"/>
              <a:gd name="connsiteY98" fmla="*/ 463336 h 463366"/>
              <a:gd name="connsiteX99" fmla="*/ 1016312 w 1785077"/>
              <a:gd name="connsiteY99" fmla="*/ 427417 h 463366"/>
              <a:gd name="connsiteX100" fmla="*/ 1051680 w 1785077"/>
              <a:gd name="connsiteY100" fmla="*/ 391616 h 463366"/>
              <a:gd name="connsiteX101" fmla="*/ 1133219 w 1785077"/>
              <a:gd name="connsiteY101" fmla="*/ 391587 h 463366"/>
              <a:gd name="connsiteX102" fmla="*/ 1144020 w 1785077"/>
              <a:gd name="connsiteY102" fmla="*/ 394876 h 463366"/>
              <a:gd name="connsiteX103" fmla="*/ 1136929 w 1785077"/>
              <a:gd name="connsiteY103" fmla="*/ 411206 h 463366"/>
              <a:gd name="connsiteX104" fmla="*/ 1127833 w 1785077"/>
              <a:gd name="connsiteY104" fmla="*/ 408365 h 463366"/>
              <a:gd name="connsiteX105" fmla="*/ 1116462 w 1785077"/>
              <a:gd name="connsiteY105" fmla="*/ 423409 h 463366"/>
              <a:gd name="connsiteX106" fmla="*/ 1116462 w 1785077"/>
              <a:gd name="connsiteY106" fmla="*/ 461482 h 463366"/>
              <a:gd name="connsiteX107" fmla="*/ 1099137 w 1785077"/>
              <a:gd name="connsiteY107" fmla="*/ 461482 h 463366"/>
              <a:gd name="connsiteX108" fmla="*/ 1099137 w 1785077"/>
              <a:gd name="connsiteY108" fmla="*/ 393441 h 463366"/>
              <a:gd name="connsiteX109" fmla="*/ 1116462 w 1785077"/>
              <a:gd name="connsiteY109" fmla="*/ 393441 h 463366"/>
              <a:gd name="connsiteX110" fmla="*/ 1116462 w 1785077"/>
              <a:gd name="connsiteY110" fmla="*/ 403520 h 463366"/>
              <a:gd name="connsiteX111" fmla="*/ 1133219 w 1785077"/>
              <a:gd name="connsiteY111" fmla="*/ 391587 h 463366"/>
              <a:gd name="connsiteX112" fmla="*/ 609398 w 1785077"/>
              <a:gd name="connsiteY112" fmla="*/ 386173 h 463366"/>
              <a:gd name="connsiteX113" fmla="*/ 609398 w 1785077"/>
              <a:gd name="connsiteY113" fmla="*/ 386203 h 463366"/>
              <a:gd name="connsiteX114" fmla="*/ 609398 w 1785077"/>
              <a:gd name="connsiteY114" fmla="*/ 408066 h 463366"/>
              <a:gd name="connsiteX115" fmla="*/ 626603 w 1785077"/>
              <a:gd name="connsiteY115" fmla="*/ 408066 h 463366"/>
              <a:gd name="connsiteX116" fmla="*/ 639829 w 1785077"/>
              <a:gd name="connsiteY116" fmla="*/ 397120 h 463366"/>
              <a:gd name="connsiteX117" fmla="*/ 626603 w 1785077"/>
              <a:gd name="connsiteY117" fmla="*/ 386173 h 463366"/>
              <a:gd name="connsiteX118" fmla="*/ 1608595 w 1785077"/>
              <a:gd name="connsiteY118" fmla="*/ 375855 h 463366"/>
              <a:gd name="connsiteX119" fmla="*/ 1626069 w 1785077"/>
              <a:gd name="connsiteY119" fmla="*/ 375855 h 463366"/>
              <a:gd name="connsiteX120" fmla="*/ 1626069 w 1785077"/>
              <a:gd name="connsiteY120" fmla="*/ 393471 h 463366"/>
              <a:gd name="connsiteX121" fmla="*/ 1644412 w 1785077"/>
              <a:gd name="connsiteY121" fmla="*/ 393471 h 463366"/>
              <a:gd name="connsiteX122" fmla="*/ 1644412 w 1785077"/>
              <a:gd name="connsiteY122" fmla="*/ 408814 h 463366"/>
              <a:gd name="connsiteX123" fmla="*/ 1626219 w 1785077"/>
              <a:gd name="connsiteY123" fmla="*/ 408814 h 463366"/>
              <a:gd name="connsiteX124" fmla="*/ 1626219 w 1785077"/>
              <a:gd name="connsiteY124" fmla="*/ 437795 h 463366"/>
              <a:gd name="connsiteX125" fmla="*/ 1633879 w 1785077"/>
              <a:gd name="connsiteY125" fmla="*/ 447156 h 463366"/>
              <a:gd name="connsiteX126" fmla="*/ 1641988 w 1785077"/>
              <a:gd name="connsiteY126" fmla="*/ 443746 h 463366"/>
              <a:gd name="connsiteX127" fmla="*/ 1649648 w 1785077"/>
              <a:gd name="connsiteY127" fmla="*/ 456667 h 463366"/>
              <a:gd name="connsiteX128" fmla="*/ 1631186 w 1785077"/>
              <a:gd name="connsiteY128" fmla="*/ 463336 h 463366"/>
              <a:gd name="connsiteX129" fmla="*/ 1608595 w 1785077"/>
              <a:gd name="connsiteY129" fmla="*/ 438213 h 463366"/>
              <a:gd name="connsiteX130" fmla="*/ 1608595 w 1785077"/>
              <a:gd name="connsiteY130" fmla="*/ 408814 h 463366"/>
              <a:gd name="connsiteX131" fmla="*/ 1596656 w 1785077"/>
              <a:gd name="connsiteY131" fmla="*/ 408814 h 463366"/>
              <a:gd name="connsiteX132" fmla="*/ 1596656 w 1785077"/>
              <a:gd name="connsiteY132" fmla="*/ 393471 h 463366"/>
              <a:gd name="connsiteX133" fmla="*/ 1608595 w 1785077"/>
              <a:gd name="connsiteY133" fmla="*/ 393471 h 463366"/>
              <a:gd name="connsiteX134" fmla="*/ 591654 w 1785077"/>
              <a:gd name="connsiteY134" fmla="*/ 370591 h 463366"/>
              <a:gd name="connsiteX135" fmla="*/ 591804 w 1785077"/>
              <a:gd name="connsiteY135" fmla="*/ 370591 h 463366"/>
              <a:gd name="connsiteX136" fmla="*/ 609428 w 1785077"/>
              <a:gd name="connsiteY136" fmla="*/ 370591 h 463366"/>
              <a:gd name="connsiteX137" fmla="*/ 628339 w 1785077"/>
              <a:gd name="connsiteY137" fmla="*/ 370591 h 463366"/>
              <a:gd name="connsiteX138" fmla="*/ 658321 w 1785077"/>
              <a:gd name="connsiteY138" fmla="*/ 395714 h 463366"/>
              <a:gd name="connsiteX139" fmla="*/ 644826 w 1785077"/>
              <a:gd name="connsiteY139" fmla="*/ 414735 h 463366"/>
              <a:gd name="connsiteX140" fmla="*/ 660834 w 1785077"/>
              <a:gd name="connsiteY140" fmla="*/ 435910 h 463366"/>
              <a:gd name="connsiteX141" fmla="*/ 630433 w 1785077"/>
              <a:gd name="connsiteY141" fmla="*/ 461482 h 463366"/>
              <a:gd name="connsiteX142" fmla="*/ 591654 w 1785077"/>
              <a:gd name="connsiteY142" fmla="*/ 461482 h 463366"/>
              <a:gd name="connsiteX143" fmla="*/ 1306678 w 1785077"/>
              <a:gd name="connsiteY143" fmla="*/ 370442 h 463366"/>
              <a:gd name="connsiteX144" fmla="*/ 1324452 w 1785077"/>
              <a:gd name="connsiteY144" fmla="*/ 370442 h 463366"/>
              <a:gd name="connsiteX145" fmla="*/ 1324452 w 1785077"/>
              <a:gd name="connsiteY145" fmla="*/ 406660 h 463366"/>
              <a:gd name="connsiteX146" fmla="*/ 1367929 w 1785077"/>
              <a:gd name="connsiteY146" fmla="*/ 406660 h 463366"/>
              <a:gd name="connsiteX147" fmla="*/ 1367929 w 1785077"/>
              <a:gd name="connsiteY147" fmla="*/ 370442 h 463366"/>
              <a:gd name="connsiteX148" fmla="*/ 1385703 w 1785077"/>
              <a:gd name="connsiteY148" fmla="*/ 370442 h 463366"/>
              <a:gd name="connsiteX149" fmla="*/ 1385703 w 1785077"/>
              <a:gd name="connsiteY149" fmla="*/ 461482 h 463366"/>
              <a:gd name="connsiteX150" fmla="*/ 1367929 w 1785077"/>
              <a:gd name="connsiteY150" fmla="*/ 461482 h 463366"/>
              <a:gd name="connsiteX151" fmla="*/ 1367929 w 1785077"/>
              <a:gd name="connsiteY151" fmla="*/ 423289 h 463366"/>
              <a:gd name="connsiteX152" fmla="*/ 1324452 w 1785077"/>
              <a:gd name="connsiteY152" fmla="*/ 423289 h 463366"/>
              <a:gd name="connsiteX153" fmla="*/ 1324452 w 1785077"/>
              <a:gd name="connsiteY153" fmla="*/ 461482 h 463366"/>
              <a:gd name="connsiteX154" fmla="*/ 1306678 w 1785077"/>
              <a:gd name="connsiteY154" fmla="*/ 461482 h 463366"/>
              <a:gd name="connsiteX155" fmla="*/ 995426 w 1785077"/>
              <a:gd name="connsiteY155" fmla="*/ 364071 h 463366"/>
              <a:gd name="connsiteX156" fmla="*/ 1005660 w 1785077"/>
              <a:gd name="connsiteY156" fmla="*/ 374150 h 463366"/>
              <a:gd name="connsiteX157" fmla="*/ 995426 w 1785077"/>
              <a:gd name="connsiteY157" fmla="*/ 384379 h 463366"/>
              <a:gd name="connsiteX158" fmla="*/ 985342 w 1785077"/>
              <a:gd name="connsiteY158" fmla="*/ 374150 h 463366"/>
              <a:gd name="connsiteX159" fmla="*/ 995426 w 1785077"/>
              <a:gd name="connsiteY159" fmla="*/ 364071 h 463366"/>
              <a:gd name="connsiteX160" fmla="*/ 1563831 w 1785077"/>
              <a:gd name="connsiteY160" fmla="*/ 363802 h 463366"/>
              <a:gd name="connsiteX161" fmla="*/ 1581156 w 1785077"/>
              <a:gd name="connsiteY161" fmla="*/ 363802 h 463366"/>
              <a:gd name="connsiteX162" fmla="*/ 1581156 w 1785077"/>
              <a:gd name="connsiteY162" fmla="*/ 439918 h 463366"/>
              <a:gd name="connsiteX163" fmla="*/ 1587260 w 1785077"/>
              <a:gd name="connsiteY163" fmla="*/ 447156 h 463366"/>
              <a:gd name="connsiteX164" fmla="*/ 1590103 w 1785077"/>
              <a:gd name="connsiteY164" fmla="*/ 446438 h 463366"/>
              <a:gd name="connsiteX165" fmla="*/ 1591958 w 1785077"/>
              <a:gd name="connsiteY165" fmla="*/ 461631 h 463366"/>
              <a:gd name="connsiteX166" fmla="*/ 1583580 w 1785077"/>
              <a:gd name="connsiteY166" fmla="*/ 463067 h 463366"/>
              <a:gd name="connsiteX167" fmla="*/ 1563831 w 1785077"/>
              <a:gd name="connsiteY167" fmla="*/ 439499 h 463366"/>
              <a:gd name="connsiteX168" fmla="*/ 1232950 w 1785077"/>
              <a:gd name="connsiteY168" fmla="*/ 363802 h 463366"/>
              <a:gd name="connsiteX169" fmla="*/ 1250275 w 1785077"/>
              <a:gd name="connsiteY169" fmla="*/ 363802 h 463366"/>
              <a:gd name="connsiteX170" fmla="*/ 1250275 w 1785077"/>
              <a:gd name="connsiteY170" fmla="*/ 439918 h 463366"/>
              <a:gd name="connsiteX171" fmla="*/ 1256379 w 1785077"/>
              <a:gd name="connsiteY171" fmla="*/ 447156 h 463366"/>
              <a:gd name="connsiteX172" fmla="*/ 1259222 w 1785077"/>
              <a:gd name="connsiteY172" fmla="*/ 446438 h 463366"/>
              <a:gd name="connsiteX173" fmla="*/ 1261077 w 1785077"/>
              <a:gd name="connsiteY173" fmla="*/ 461631 h 463366"/>
              <a:gd name="connsiteX174" fmla="*/ 1252698 w 1785077"/>
              <a:gd name="connsiteY174" fmla="*/ 463067 h 463366"/>
              <a:gd name="connsiteX175" fmla="*/ 1232950 w 1785077"/>
              <a:gd name="connsiteY175" fmla="*/ 439499 h 463366"/>
              <a:gd name="connsiteX176" fmla="*/ 1661168 w 1785077"/>
              <a:gd name="connsiteY176" fmla="*/ 363772 h 463366"/>
              <a:gd name="connsiteX177" fmla="*/ 1678494 w 1785077"/>
              <a:gd name="connsiteY177" fmla="*/ 363772 h 463366"/>
              <a:gd name="connsiteX178" fmla="*/ 1678494 w 1785077"/>
              <a:gd name="connsiteY178" fmla="*/ 403101 h 463366"/>
              <a:gd name="connsiteX179" fmla="*/ 1697823 w 1785077"/>
              <a:gd name="connsiteY179" fmla="*/ 391587 h 463366"/>
              <a:gd name="connsiteX180" fmla="*/ 1723527 w 1785077"/>
              <a:gd name="connsiteY180" fmla="*/ 420298 h 463366"/>
              <a:gd name="connsiteX181" fmla="*/ 1723527 w 1785077"/>
              <a:gd name="connsiteY181" fmla="*/ 461482 h 463366"/>
              <a:gd name="connsiteX182" fmla="*/ 1706202 w 1785077"/>
              <a:gd name="connsiteY182" fmla="*/ 461482 h 463366"/>
              <a:gd name="connsiteX183" fmla="*/ 1706202 w 1785077"/>
              <a:gd name="connsiteY183" fmla="*/ 422841 h 463366"/>
              <a:gd name="connsiteX184" fmla="*/ 1692407 w 1785077"/>
              <a:gd name="connsiteY184" fmla="*/ 407797 h 463366"/>
              <a:gd name="connsiteX185" fmla="*/ 1678494 w 1785077"/>
              <a:gd name="connsiteY185" fmla="*/ 422841 h 463366"/>
              <a:gd name="connsiteX186" fmla="*/ 1678494 w 1785077"/>
              <a:gd name="connsiteY186" fmla="*/ 461482 h 463366"/>
              <a:gd name="connsiteX187" fmla="*/ 1661168 w 1785077"/>
              <a:gd name="connsiteY187" fmla="*/ 461482 h 463366"/>
              <a:gd name="connsiteX188" fmla="*/ 750213 w 1785077"/>
              <a:gd name="connsiteY188" fmla="*/ 363772 h 463366"/>
              <a:gd name="connsiteX189" fmla="*/ 767538 w 1785077"/>
              <a:gd name="connsiteY189" fmla="*/ 363772 h 463366"/>
              <a:gd name="connsiteX190" fmla="*/ 767538 w 1785077"/>
              <a:gd name="connsiteY190" fmla="*/ 403101 h 463366"/>
              <a:gd name="connsiteX191" fmla="*/ 786867 w 1785077"/>
              <a:gd name="connsiteY191" fmla="*/ 391587 h 463366"/>
              <a:gd name="connsiteX192" fmla="*/ 812571 w 1785077"/>
              <a:gd name="connsiteY192" fmla="*/ 420298 h 463366"/>
              <a:gd name="connsiteX193" fmla="*/ 812571 w 1785077"/>
              <a:gd name="connsiteY193" fmla="*/ 461482 h 463366"/>
              <a:gd name="connsiteX194" fmla="*/ 795246 w 1785077"/>
              <a:gd name="connsiteY194" fmla="*/ 461482 h 463366"/>
              <a:gd name="connsiteX195" fmla="*/ 795246 w 1785077"/>
              <a:gd name="connsiteY195" fmla="*/ 422841 h 463366"/>
              <a:gd name="connsiteX196" fmla="*/ 781451 w 1785077"/>
              <a:gd name="connsiteY196" fmla="*/ 407797 h 463366"/>
              <a:gd name="connsiteX197" fmla="*/ 767538 w 1785077"/>
              <a:gd name="connsiteY197" fmla="*/ 422841 h 463366"/>
              <a:gd name="connsiteX198" fmla="*/ 767538 w 1785077"/>
              <a:gd name="connsiteY198" fmla="*/ 461482 h 463366"/>
              <a:gd name="connsiteX199" fmla="*/ 750213 w 1785077"/>
              <a:gd name="connsiteY199" fmla="*/ 461482 h 463366"/>
              <a:gd name="connsiteX200" fmla="*/ 1760720 w 1785077"/>
              <a:gd name="connsiteY200" fmla="*/ 269382 h 463366"/>
              <a:gd name="connsiteX201" fmla="*/ 1764580 w 1785077"/>
              <a:gd name="connsiteY201" fmla="*/ 269382 h 463366"/>
              <a:gd name="connsiteX202" fmla="*/ 1773138 w 1785077"/>
              <a:gd name="connsiteY202" fmla="*/ 282960 h 463366"/>
              <a:gd name="connsiteX203" fmla="*/ 1781666 w 1785077"/>
              <a:gd name="connsiteY203" fmla="*/ 269382 h 463366"/>
              <a:gd name="connsiteX204" fmla="*/ 1785077 w 1785077"/>
              <a:gd name="connsiteY204" fmla="*/ 269382 h 463366"/>
              <a:gd name="connsiteX205" fmla="*/ 1785077 w 1785077"/>
              <a:gd name="connsiteY205" fmla="*/ 293099 h 463366"/>
              <a:gd name="connsiteX206" fmla="*/ 1781756 w 1785077"/>
              <a:gd name="connsiteY206" fmla="*/ 293099 h 463366"/>
              <a:gd name="connsiteX207" fmla="*/ 1781756 w 1785077"/>
              <a:gd name="connsiteY207" fmla="*/ 274705 h 463366"/>
              <a:gd name="connsiteX208" fmla="*/ 1772929 w 1785077"/>
              <a:gd name="connsiteY208" fmla="*/ 288433 h 463366"/>
              <a:gd name="connsiteX209" fmla="*/ 1764042 w 1785077"/>
              <a:gd name="connsiteY209" fmla="*/ 274705 h 463366"/>
              <a:gd name="connsiteX210" fmla="*/ 1764042 w 1785077"/>
              <a:gd name="connsiteY210" fmla="*/ 293099 h 463366"/>
              <a:gd name="connsiteX211" fmla="*/ 1760720 w 1785077"/>
              <a:gd name="connsiteY211" fmla="*/ 293099 h 463366"/>
              <a:gd name="connsiteX212" fmla="*/ 1748452 w 1785077"/>
              <a:gd name="connsiteY212" fmla="*/ 268963 h 463366"/>
              <a:gd name="connsiteX213" fmla="*/ 1756591 w 1785077"/>
              <a:gd name="connsiteY213" fmla="*/ 272642 h 463366"/>
              <a:gd name="connsiteX214" fmla="*/ 1754287 w 1785077"/>
              <a:gd name="connsiteY214" fmla="*/ 274885 h 463366"/>
              <a:gd name="connsiteX215" fmla="*/ 1748392 w 1785077"/>
              <a:gd name="connsiteY215" fmla="*/ 272073 h 463366"/>
              <a:gd name="connsiteX216" fmla="*/ 1743754 w 1785077"/>
              <a:gd name="connsiteY216" fmla="*/ 275274 h 463366"/>
              <a:gd name="connsiteX217" fmla="*/ 1757010 w 1785077"/>
              <a:gd name="connsiteY217" fmla="*/ 286549 h 463366"/>
              <a:gd name="connsiteX218" fmla="*/ 1748303 w 1785077"/>
              <a:gd name="connsiteY218" fmla="*/ 293547 h 463366"/>
              <a:gd name="connsiteX219" fmla="*/ 1739326 w 1785077"/>
              <a:gd name="connsiteY219" fmla="*/ 289510 h 463366"/>
              <a:gd name="connsiteX220" fmla="*/ 1741720 w 1785077"/>
              <a:gd name="connsiteY220" fmla="*/ 287267 h 463366"/>
              <a:gd name="connsiteX221" fmla="*/ 1748303 w 1785077"/>
              <a:gd name="connsiteY221" fmla="*/ 290407 h 463366"/>
              <a:gd name="connsiteX222" fmla="*/ 1753419 w 1785077"/>
              <a:gd name="connsiteY222" fmla="*/ 286788 h 463366"/>
              <a:gd name="connsiteX223" fmla="*/ 1740164 w 1785077"/>
              <a:gd name="connsiteY223" fmla="*/ 275393 h 463366"/>
              <a:gd name="connsiteX224" fmla="*/ 1748452 w 1785077"/>
              <a:gd name="connsiteY224" fmla="*/ 268963 h 463366"/>
              <a:gd name="connsiteX225" fmla="*/ 1411587 w 1785077"/>
              <a:gd name="connsiteY225" fmla="*/ 134646 h 463366"/>
              <a:gd name="connsiteX226" fmla="*/ 1357906 w 1785077"/>
              <a:gd name="connsiteY226" fmla="*/ 192488 h 463366"/>
              <a:gd name="connsiteX227" fmla="*/ 1411587 w 1785077"/>
              <a:gd name="connsiteY227" fmla="*/ 250749 h 463366"/>
              <a:gd name="connsiteX228" fmla="*/ 1464429 w 1785077"/>
              <a:gd name="connsiteY228" fmla="*/ 192488 h 463366"/>
              <a:gd name="connsiteX229" fmla="*/ 1411587 w 1785077"/>
              <a:gd name="connsiteY229" fmla="*/ 134646 h 463366"/>
              <a:gd name="connsiteX230" fmla="*/ 742014 w 1785077"/>
              <a:gd name="connsiteY230" fmla="*/ 134646 h 463366"/>
              <a:gd name="connsiteX231" fmla="*/ 688334 w 1785077"/>
              <a:gd name="connsiteY231" fmla="*/ 192488 h 463366"/>
              <a:gd name="connsiteX232" fmla="*/ 742014 w 1785077"/>
              <a:gd name="connsiteY232" fmla="*/ 250749 h 463366"/>
              <a:gd name="connsiteX233" fmla="*/ 794857 w 1785077"/>
              <a:gd name="connsiteY233" fmla="*/ 192488 h 463366"/>
              <a:gd name="connsiteX234" fmla="*/ 742014 w 1785077"/>
              <a:gd name="connsiteY234" fmla="*/ 134646 h 463366"/>
              <a:gd name="connsiteX235" fmla="*/ 1110987 w 1785077"/>
              <a:gd name="connsiteY235" fmla="*/ 130070 h 463366"/>
              <a:gd name="connsiteX236" fmla="*/ 1061914 w 1785077"/>
              <a:gd name="connsiteY236" fmla="*/ 173227 h 463366"/>
              <a:gd name="connsiteX237" fmla="*/ 1158773 w 1785077"/>
              <a:gd name="connsiteY237" fmla="*/ 173227 h 463366"/>
              <a:gd name="connsiteX238" fmla="*/ 1110987 w 1785077"/>
              <a:gd name="connsiteY238" fmla="*/ 130070 h 463366"/>
              <a:gd name="connsiteX239" fmla="*/ 733636 w 1785077"/>
              <a:gd name="connsiteY239" fmla="*/ 86494 h 463366"/>
              <a:gd name="connsiteX240" fmla="*/ 794857 w 1785077"/>
              <a:gd name="connsiteY240" fmla="*/ 112484 h 463366"/>
              <a:gd name="connsiteX241" fmla="*/ 794857 w 1785077"/>
              <a:gd name="connsiteY241" fmla="*/ 92356 h 463366"/>
              <a:gd name="connsiteX242" fmla="*/ 846443 w 1785077"/>
              <a:gd name="connsiteY242" fmla="*/ 92356 h 463366"/>
              <a:gd name="connsiteX243" fmla="*/ 846443 w 1785077"/>
              <a:gd name="connsiteY243" fmla="*/ 293099 h 463366"/>
              <a:gd name="connsiteX244" fmla="*/ 794857 w 1785077"/>
              <a:gd name="connsiteY244" fmla="*/ 293099 h 463366"/>
              <a:gd name="connsiteX245" fmla="*/ 794857 w 1785077"/>
              <a:gd name="connsiteY245" fmla="*/ 271296 h 463366"/>
              <a:gd name="connsiteX246" fmla="*/ 733636 w 1785077"/>
              <a:gd name="connsiteY246" fmla="*/ 298961 h 463366"/>
              <a:gd name="connsiteX247" fmla="*/ 637196 w 1785077"/>
              <a:gd name="connsiteY247" fmla="*/ 192937 h 463366"/>
              <a:gd name="connsiteX248" fmla="*/ 733636 w 1785077"/>
              <a:gd name="connsiteY248" fmla="*/ 86494 h 463366"/>
              <a:gd name="connsiteX249" fmla="*/ 555628 w 1785077"/>
              <a:gd name="connsiteY249" fmla="*/ 86494 h 463366"/>
              <a:gd name="connsiteX250" fmla="*/ 634862 w 1785077"/>
              <a:gd name="connsiteY250" fmla="*/ 116671 h 463366"/>
              <a:gd name="connsiteX251" fmla="*/ 605509 w 1785077"/>
              <a:gd name="connsiteY251" fmla="*/ 153129 h 463366"/>
              <a:gd name="connsiteX252" fmla="*/ 558141 w 1785077"/>
              <a:gd name="connsiteY252" fmla="*/ 134676 h 463366"/>
              <a:gd name="connsiteX253" fmla="*/ 501947 w 1785077"/>
              <a:gd name="connsiteY253" fmla="*/ 192518 h 463366"/>
              <a:gd name="connsiteX254" fmla="*/ 557723 w 1785077"/>
              <a:gd name="connsiteY254" fmla="*/ 250779 h 463366"/>
              <a:gd name="connsiteX255" fmla="*/ 607184 w 1785077"/>
              <a:gd name="connsiteY255" fmla="*/ 231070 h 463366"/>
              <a:gd name="connsiteX256" fmla="*/ 633187 w 1785077"/>
              <a:gd name="connsiteY256" fmla="*/ 268784 h 463366"/>
              <a:gd name="connsiteX257" fmla="*/ 556466 w 1785077"/>
              <a:gd name="connsiteY257" fmla="*/ 298961 h 463366"/>
              <a:gd name="connsiteX258" fmla="*/ 450810 w 1785077"/>
              <a:gd name="connsiteY258" fmla="*/ 192937 h 463366"/>
              <a:gd name="connsiteX259" fmla="*/ 555628 w 1785077"/>
              <a:gd name="connsiteY259" fmla="*/ 86494 h 463366"/>
              <a:gd name="connsiteX260" fmla="*/ 1647225 w 1785077"/>
              <a:gd name="connsiteY260" fmla="*/ 86464 h 463366"/>
              <a:gd name="connsiteX261" fmla="*/ 1723527 w 1785077"/>
              <a:gd name="connsiteY261" fmla="*/ 171553 h 463366"/>
              <a:gd name="connsiteX262" fmla="*/ 1723527 w 1785077"/>
              <a:gd name="connsiteY262" fmla="*/ 293099 h 463366"/>
              <a:gd name="connsiteX263" fmla="*/ 1672360 w 1785077"/>
              <a:gd name="connsiteY263" fmla="*/ 293099 h 463366"/>
              <a:gd name="connsiteX264" fmla="*/ 1672360 w 1785077"/>
              <a:gd name="connsiteY264" fmla="*/ 179089 h 463366"/>
              <a:gd name="connsiteX265" fmla="*/ 1631695 w 1785077"/>
              <a:gd name="connsiteY265" fmla="*/ 134676 h 463366"/>
              <a:gd name="connsiteX266" fmla="*/ 1590612 w 1785077"/>
              <a:gd name="connsiteY266" fmla="*/ 179089 h 463366"/>
              <a:gd name="connsiteX267" fmla="*/ 1590612 w 1785077"/>
              <a:gd name="connsiteY267" fmla="*/ 293069 h 463366"/>
              <a:gd name="connsiteX268" fmla="*/ 1539445 w 1785077"/>
              <a:gd name="connsiteY268" fmla="*/ 293069 h 463366"/>
              <a:gd name="connsiteX269" fmla="*/ 1539445 w 1785077"/>
              <a:gd name="connsiteY269" fmla="*/ 92326 h 463366"/>
              <a:gd name="connsiteX270" fmla="*/ 1590612 w 1785077"/>
              <a:gd name="connsiteY270" fmla="*/ 92326 h 463366"/>
              <a:gd name="connsiteX271" fmla="*/ 1590612 w 1785077"/>
              <a:gd name="connsiteY271" fmla="*/ 112035 h 463366"/>
              <a:gd name="connsiteX272" fmla="*/ 1647225 w 1785077"/>
              <a:gd name="connsiteY272" fmla="*/ 86464 h 463366"/>
              <a:gd name="connsiteX273" fmla="*/ 1411168 w 1785077"/>
              <a:gd name="connsiteY273" fmla="*/ 86464 h 463366"/>
              <a:gd name="connsiteX274" fmla="*/ 1515986 w 1785077"/>
              <a:gd name="connsiteY274" fmla="*/ 192907 h 463366"/>
              <a:gd name="connsiteX275" fmla="*/ 1411168 w 1785077"/>
              <a:gd name="connsiteY275" fmla="*/ 298931 h 463366"/>
              <a:gd name="connsiteX276" fmla="*/ 1306769 w 1785077"/>
              <a:gd name="connsiteY276" fmla="*/ 192907 h 463366"/>
              <a:gd name="connsiteX277" fmla="*/ 1411168 w 1785077"/>
              <a:gd name="connsiteY277" fmla="*/ 86464 h 463366"/>
              <a:gd name="connsiteX278" fmla="*/ 1110119 w 1785077"/>
              <a:gd name="connsiteY278" fmla="*/ 86464 h 463366"/>
              <a:gd name="connsiteX279" fmla="*/ 1211167 w 1785077"/>
              <a:gd name="connsiteY279" fmla="*/ 188720 h 463366"/>
              <a:gd name="connsiteX280" fmla="*/ 1209910 w 1785077"/>
              <a:gd name="connsiteY280" fmla="*/ 205468 h 463366"/>
              <a:gd name="connsiteX281" fmla="*/ 1061046 w 1785077"/>
              <a:gd name="connsiteY281" fmla="*/ 205468 h 463366"/>
              <a:gd name="connsiteX282" fmla="*/ 1118497 w 1785077"/>
              <a:gd name="connsiteY282" fmla="*/ 253680 h 463366"/>
              <a:gd name="connsiteX283" fmla="*/ 1167570 w 1785077"/>
              <a:gd name="connsiteY283" fmla="*/ 232715 h 463366"/>
              <a:gd name="connsiteX284" fmla="*/ 1193991 w 1785077"/>
              <a:gd name="connsiteY284" fmla="*/ 267498 h 463366"/>
              <a:gd name="connsiteX285" fmla="*/ 1116433 w 1785077"/>
              <a:gd name="connsiteY285" fmla="*/ 298931 h 463366"/>
              <a:gd name="connsiteX286" fmla="*/ 1008652 w 1785077"/>
              <a:gd name="connsiteY286" fmla="*/ 192907 h 463366"/>
              <a:gd name="connsiteX287" fmla="*/ 1110119 w 1785077"/>
              <a:gd name="connsiteY287" fmla="*/ 86464 h 463366"/>
              <a:gd name="connsiteX288" fmla="*/ 983518 w 1785077"/>
              <a:gd name="connsiteY288" fmla="*/ 86464 h 463366"/>
              <a:gd name="connsiteX289" fmla="*/ 1015804 w 1785077"/>
              <a:gd name="connsiteY289" fmla="*/ 96513 h 463366"/>
              <a:gd name="connsiteX290" fmla="*/ 994409 w 1785077"/>
              <a:gd name="connsiteY290" fmla="*/ 145144 h 463366"/>
              <a:gd name="connsiteX291" fmla="*/ 967988 w 1785077"/>
              <a:gd name="connsiteY291" fmla="*/ 136351 h 463366"/>
              <a:gd name="connsiteX292" fmla="*/ 934445 w 1785077"/>
              <a:gd name="connsiteY292" fmla="*/ 180764 h 463366"/>
              <a:gd name="connsiteX293" fmla="*/ 934445 w 1785077"/>
              <a:gd name="connsiteY293" fmla="*/ 293069 h 463366"/>
              <a:gd name="connsiteX294" fmla="*/ 883278 w 1785077"/>
              <a:gd name="connsiteY294" fmla="*/ 293069 h 463366"/>
              <a:gd name="connsiteX295" fmla="*/ 883278 w 1785077"/>
              <a:gd name="connsiteY295" fmla="*/ 92326 h 463366"/>
              <a:gd name="connsiteX296" fmla="*/ 934445 w 1785077"/>
              <a:gd name="connsiteY296" fmla="*/ 92326 h 463366"/>
              <a:gd name="connsiteX297" fmla="*/ 934445 w 1785077"/>
              <a:gd name="connsiteY297" fmla="*/ 114129 h 463366"/>
              <a:gd name="connsiteX298" fmla="*/ 983518 w 1785077"/>
              <a:gd name="connsiteY298" fmla="*/ 86464 h 463366"/>
              <a:gd name="connsiteX299" fmla="*/ 289840 w 1785077"/>
              <a:gd name="connsiteY299" fmla="*/ 38556 h 463366"/>
              <a:gd name="connsiteX300" fmla="*/ 241383 w 1785077"/>
              <a:gd name="connsiteY300" fmla="*/ 74352 h 463366"/>
              <a:gd name="connsiteX301" fmla="*/ 247637 w 1785077"/>
              <a:gd name="connsiteY301" fmla="*/ 123760 h 463366"/>
              <a:gd name="connsiteX302" fmla="*/ 192849 w 1785077"/>
              <a:gd name="connsiteY302" fmla="*/ 146131 h 463366"/>
              <a:gd name="connsiteX303" fmla="*/ 138151 w 1785077"/>
              <a:gd name="connsiteY303" fmla="*/ 123610 h 463366"/>
              <a:gd name="connsiteX304" fmla="*/ 144285 w 1785077"/>
              <a:gd name="connsiteY304" fmla="*/ 111587 h 463366"/>
              <a:gd name="connsiteX305" fmla="*/ 147574 w 1785077"/>
              <a:gd name="connsiteY305" fmla="*/ 93063 h 463366"/>
              <a:gd name="connsiteX306" fmla="*/ 137965 w 1785077"/>
              <a:gd name="connsiteY306" fmla="*/ 62101 h 463366"/>
              <a:gd name="connsiteX307" fmla="*/ 111700 w 1785077"/>
              <a:gd name="connsiteY307" fmla="*/ 41782 h 463366"/>
              <a:gd name="connsiteX308" fmla="*/ 90289 w 1785077"/>
              <a:gd name="connsiteY308" fmla="*/ 38556 h 463366"/>
              <a:gd name="connsiteX309" fmla="*/ 41831 w 1785077"/>
              <a:gd name="connsiteY309" fmla="*/ 74352 h 463366"/>
              <a:gd name="connsiteX310" fmla="*/ 74417 w 1785077"/>
              <a:gd name="connsiteY310" fmla="*/ 144187 h 463366"/>
              <a:gd name="connsiteX311" fmla="*/ 123849 w 1785077"/>
              <a:gd name="connsiteY311" fmla="*/ 137936 h 463366"/>
              <a:gd name="connsiteX312" fmla="*/ 146231 w 1785077"/>
              <a:gd name="connsiteY312" fmla="*/ 192668 h 463366"/>
              <a:gd name="connsiteX313" fmla="*/ 123699 w 1785077"/>
              <a:gd name="connsiteY313" fmla="*/ 247340 h 463366"/>
              <a:gd name="connsiteX314" fmla="*/ 111670 w 1785077"/>
              <a:gd name="connsiteY314" fmla="*/ 241209 h 463366"/>
              <a:gd name="connsiteX315" fmla="*/ 93118 w 1785077"/>
              <a:gd name="connsiteY315" fmla="*/ 237919 h 463366"/>
              <a:gd name="connsiteX316" fmla="*/ 93128 w 1785077"/>
              <a:gd name="connsiteY316" fmla="*/ 237895 h 463366"/>
              <a:gd name="connsiteX317" fmla="*/ 62160 w 1785077"/>
              <a:gd name="connsiteY317" fmla="*/ 247497 h 463366"/>
              <a:gd name="connsiteX318" fmla="*/ 41831 w 1785077"/>
              <a:gd name="connsiteY318" fmla="*/ 273749 h 463366"/>
              <a:gd name="connsiteX319" fmla="*/ 74417 w 1785077"/>
              <a:gd name="connsiteY319" fmla="*/ 343584 h 463366"/>
              <a:gd name="connsiteX320" fmla="*/ 144286 w 1785077"/>
              <a:gd name="connsiteY320" fmla="*/ 311014 h 463366"/>
              <a:gd name="connsiteX321" fmla="*/ 138032 w 1785077"/>
              <a:gd name="connsiteY321" fmla="*/ 261606 h 463366"/>
              <a:gd name="connsiteX322" fmla="*/ 192820 w 1785077"/>
              <a:gd name="connsiteY322" fmla="*/ 239235 h 463366"/>
              <a:gd name="connsiteX323" fmla="*/ 247458 w 1785077"/>
              <a:gd name="connsiteY323" fmla="*/ 261785 h 463366"/>
              <a:gd name="connsiteX324" fmla="*/ 241324 w 1785077"/>
              <a:gd name="connsiteY324" fmla="*/ 273808 h 463366"/>
              <a:gd name="connsiteX325" fmla="*/ 238035 w 1785077"/>
              <a:gd name="connsiteY325" fmla="*/ 292332 h 463366"/>
              <a:gd name="connsiteX326" fmla="*/ 247644 w 1785077"/>
              <a:gd name="connsiteY326" fmla="*/ 323295 h 463366"/>
              <a:gd name="connsiteX327" fmla="*/ 273909 w 1785077"/>
              <a:gd name="connsiteY327" fmla="*/ 343614 h 463366"/>
              <a:gd name="connsiteX328" fmla="*/ 343778 w 1785077"/>
              <a:gd name="connsiteY328" fmla="*/ 311044 h 463366"/>
              <a:gd name="connsiteX329" fmla="*/ 311192 w 1785077"/>
              <a:gd name="connsiteY329" fmla="*/ 241208 h 463366"/>
              <a:gd name="connsiteX330" fmla="*/ 261760 w 1785077"/>
              <a:gd name="connsiteY330" fmla="*/ 247459 h 463366"/>
              <a:gd name="connsiteX331" fmla="*/ 239379 w 1785077"/>
              <a:gd name="connsiteY331" fmla="*/ 192697 h 463366"/>
              <a:gd name="connsiteX332" fmla="*/ 261940 w 1785077"/>
              <a:gd name="connsiteY332" fmla="*/ 138115 h 463366"/>
              <a:gd name="connsiteX333" fmla="*/ 273969 w 1785077"/>
              <a:gd name="connsiteY333" fmla="*/ 144246 h 463366"/>
              <a:gd name="connsiteX334" fmla="*/ 292497 w 1785077"/>
              <a:gd name="connsiteY334" fmla="*/ 147532 h 463366"/>
              <a:gd name="connsiteX335" fmla="*/ 292520 w 1785077"/>
              <a:gd name="connsiteY335" fmla="*/ 147477 h 463366"/>
              <a:gd name="connsiteX336" fmla="*/ 343837 w 1785077"/>
              <a:gd name="connsiteY336" fmla="*/ 111617 h 463366"/>
              <a:gd name="connsiteX337" fmla="*/ 311252 w 1785077"/>
              <a:gd name="connsiteY337" fmla="*/ 41782 h 463366"/>
              <a:gd name="connsiteX338" fmla="*/ 289840 w 1785077"/>
              <a:gd name="connsiteY338" fmla="*/ 38556 h 463366"/>
              <a:gd name="connsiteX339" fmla="*/ 1232142 w 1785077"/>
              <a:gd name="connsiteY339" fmla="*/ 4755 h 463366"/>
              <a:gd name="connsiteX340" fmla="*/ 1283310 w 1785077"/>
              <a:gd name="connsiteY340" fmla="*/ 4755 h 463366"/>
              <a:gd name="connsiteX341" fmla="*/ 1283310 w 1785077"/>
              <a:gd name="connsiteY341" fmla="*/ 293099 h 463366"/>
              <a:gd name="connsiteX342" fmla="*/ 1232142 w 1785077"/>
              <a:gd name="connsiteY342" fmla="*/ 293099 h 463366"/>
              <a:gd name="connsiteX343" fmla="*/ 1232142 w 1785077"/>
              <a:gd name="connsiteY343" fmla="*/ 156868 h 463366"/>
              <a:gd name="connsiteX344" fmla="*/ 93029 w 1785077"/>
              <a:gd name="connsiteY344" fmla="*/ 0 h 463366"/>
              <a:gd name="connsiteX345" fmla="*/ 186087 w 1785077"/>
              <a:gd name="connsiteY345" fmla="*/ 92984 h 463366"/>
              <a:gd name="connsiteX346" fmla="*/ 184801 w 1785077"/>
              <a:gd name="connsiteY346" fmla="*/ 108375 h 463366"/>
              <a:gd name="connsiteX347" fmla="*/ 192819 w 1785077"/>
              <a:gd name="connsiteY347" fmla="*/ 111677 h 463366"/>
              <a:gd name="connsiteX348" fmla="*/ 200808 w 1785077"/>
              <a:gd name="connsiteY348" fmla="*/ 108387 h 463366"/>
              <a:gd name="connsiteX349" fmla="*/ 199552 w 1785077"/>
              <a:gd name="connsiteY349" fmla="*/ 92984 h 463366"/>
              <a:gd name="connsiteX350" fmla="*/ 292580 w 1785077"/>
              <a:gd name="connsiteY350" fmla="*/ 0 h 463366"/>
              <a:gd name="connsiteX351" fmla="*/ 385609 w 1785077"/>
              <a:gd name="connsiteY351" fmla="*/ 92984 h 463366"/>
              <a:gd name="connsiteX352" fmla="*/ 292580 w 1785077"/>
              <a:gd name="connsiteY352" fmla="*/ 185969 h 463366"/>
              <a:gd name="connsiteX353" fmla="*/ 277196 w 1785077"/>
              <a:gd name="connsiteY353" fmla="*/ 184685 h 463366"/>
              <a:gd name="connsiteX354" fmla="*/ 273879 w 1785077"/>
              <a:gd name="connsiteY354" fmla="*/ 192727 h 463366"/>
              <a:gd name="connsiteX355" fmla="*/ 277170 w 1785077"/>
              <a:gd name="connsiteY355" fmla="*/ 200713 h 463366"/>
              <a:gd name="connsiteX356" fmla="*/ 292580 w 1785077"/>
              <a:gd name="connsiteY356" fmla="*/ 199427 h 463366"/>
              <a:gd name="connsiteX357" fmla="*/ 385579 w 1785077"/>
              <a:gd name="connsiteY357" fmla="*/ 292411 h 463366"/>
              <a:gd name="connsiteX358" fmla="*/ 292551 w 1785077"/>
              <a:gd name="connsiteY358" fmla="*/ 385395 h 463366"/>
              <a:gd name="connsiteX359" fmla="*/ 199522 w 1785077"/>
              <a:gd name="connsiteY359" fmla="*/ 292411 h 463366"/>
              <a:gd name="connsiteX360" fmla="*/ 200808 w 1785077"/>
              <a:gd name="connsiteY360" fmla="*/ 277021 h 463366"/>
              <a:gd name="connsiteX361" fmla="*/ 192790 w 1785077"/>
              <a:gd name="connsiteY361" fmla="*/ 273719 h 463366"/>
              <a:gd name="connsiteX362" fmla="*/ 184770 w 1785077"/>
              <a:gd name="connsiteY362" fmla="*/ 277009 h 463366"/>
              <a:gd name="connsiteX363" fmla="*/ 186057 w 1785077"/>
              <a:gd name="connsiteY363" fmla="*/ 292411 h 463366"/>
              <a:gd name="connsiteX364" fmla="*/ 93029 w 1785077"/>
              <a:gd name="connsiteY364" fmla="*/ 385396 h 463366"/>
              <a:gd name="connsiteX365" fmla="*/ 0 w 1785077"/>
              <a:gd name="connsiteY365" fmla="*/ 292411 h 463366"/>
              <a:gd name="connsiteX366" fmla="*/ 93058 w 1785077"/>
              <a:gd name="connsiteY366" fmla="*/ 199367 h 463366"/>
              <a:gd name="connsiteX367" fmla="*/ 108458 w 1785077"/>
              <a:gd name="connsiteY367" fmla="*/ 200682 h 463366"/>
              <a:gd name="connsiteX368" fmla="*/ 111760 w 1785077"/>
              <a:gd name="connsiteY368" fmla="*/ 192668 h 463366"/>
              <a:gd name="connsiteX369" fmla="*/ 108439 w 1785077"/>
              <a:gd name="connsiteY369" fmla="*/ 184713 h 463366"/>
              <a:gd name="connsiteX370" fmla="*/ 93029 w 1785077"/>
              <a:gd name="connsiteY370" fmla="*/ 185939 h 463366"/>
              <a:gd name="connsiteX371" fmla="*/ 0 w 1785077"/>
              <a:gd name="connsiteY371" fmla="*/ 92984 h 463366"/>
              <a:gd name="connsiteX372" fmla="*/ 93029 w 1785077"/>
              <a:gd name="connsiteY372" fmla="*/ 0 h 463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</a:cxnLst>
            <a:rect l="l" t="t" r="r" b="b"/>
            <a:pathLst>
              <a:path w="1785077" h="463366">
                <a:moveTo>
                  <a:pt x="609398" y="422691"/>
                </a:moveTo>
                <a:lnTo>
                  <a:pt x="609398" y="445690"/>
                </a:lnTo>
                <a:lnTo>
                  <a:pt x="628578" y="445690"/>
                </a:lnTo>
                <a:lnTo>
                  <a:pt x="628578" y="445720"/>
                </a:lnTo>
                <a:cubicBezTo>
                  <a:pt x="636538" y="445720"/>
                  <a:pt x="642372" y="440905"/>
                  <a:pt x="642372" y="434206"/>
                </a:cubicBezTo>
                <a:cubicBezTo>
                  <a:pt x="642372" y="427506"/>
                  <a:pt x="636538" y="422691"/>
                  <a:pt x="628578" y="422691"/>
                </a:cubicBezTo>
                <a:close/>
                <a:moveTo>
                  <a:pt x="1511976" y="407797"/>
                </a:moveTo>
                <a:cubicBezTo>
                  <a:pt x="1501473" y="407797"/>
                  <a:pt x="1493932" y="416470"/>
                  <a:pt x="1493932" y="427387"/>
                </a:cubicBezTo>
                <a:cubicBezTo>
                  <a:pt x="1493932" y="438303"/>
                  <a:pt x="1501473" y="447126"/>
                  <a:pt x="1511976" y="447126"/>
                </a:cubicBezTo>
                <a:cubicBezTo>
                  <a:pt x="1522508" y="447156"/>
                  <a:pt x="1530019" y="438333"/>
                  <a:pt x="1530019" y="427387"/>
                </a:cubicBezTo>
                <a:cubicBezTo>
                  <a:pt x="1530019" y="416440"/>
                  <a:pt x="1522478" y="407797"/>
                  <a:pt x="1511976" y="407797"/>
                </a:cubicBezTo>
                <a:close/>
                <a:moveTo>
                  <a:pt x="1181094" y="407797"/>
                </a:moveTo>
                <a:cubicBezTo>
                  <a:pt x="1170592" y="407797"/>
                  <a:pt x="1163051" y="416470"/>
                  <a:pt x="1163051" y="427387"/>
                </a:cubicBezTo>
                <a:cubicBezTo>
                  <a:pt x="1163051" y="438303"/>
                  <a:pt x="1170592" y="447126"/>
                  <a:pt x="1181094" y="447126"/>
                </a:cubicBezTo>
                <a:cubicBezTo>
                  <a:pt x="1191627" y="447156"/>
                  <a:pt x="1199137" y="438333"/>
                  <a:pt x="1199137" y="427387"/>
                </a:cubicBezTo>
                <a:cubicBezTo>
                  <a:pt x="1199137" y="416440"/>
                  <a:pt x="1191597" y="407797"/>
                  <a:pt x="1181094" y="407797"/>
                </a:cubicBezTo>
                <a:close/>
                <a:moveTo>
                  <a:pt x="1051680" y="407797"/>
                </a:moveTo>
                <a:cubicBezTo>
                  <a:pt x="1041177" y="407797"/>
                  <a:pt x="1033637" y="416470"/>
                  <a:pt x="1033637" y="427387"/>
                </a:cubicBezTo>
                <a:cubicBezTo>
                  <a:pt x="1033637" y="438303"/>
                  <a:pt x="1041177" y="447126"/>
                  <a:pt x="1051680" y="447126"/>
                </a:cubicBezTo>
                <a:cubicBezTo>
                  <a:pt x="1062183" y="447126"/>
                  <a:pt x="1069723" y="438333"/>
                  <a:pt x="1069723" y="427387"/>
                </a:cubicBezTo>
                <a:cubicBezTo>
                  <a:pt x="1069723" y="416440"/>
                  <a:pt x="1062183" y="407797"/>
                  <a:pt x="1051680" y="407797"/>
                </a:cubicBezTo>
                <a:close/>
                <a:moveTo>
                  <a:pt x="859459" y="407797"/>
                </a:moveTo>
                <a:cubicBezTo>
                  <a:pt x="848956" y="407797"/>
                  <a:pt x="841416" y="416470"/>
                  <a:pt x="841416" y="427387"/>
                </a:cubicBezTo>
                <a:cubicBezTo>
                  <a:pt x="841416" y="438303"/>
                  <a:pt x="848956" y="447126"/>
                  <a:pt x="859459" y="447126"/>
                </a:cubicBezTo>
                <a:cubicBezTo>
                  <a:pt x="869962" y="447156"/>
                  <a:pt x="877502" y="438333"/>
                  <a:pt x="877502" y="427387"/>
                </a:cubicBezTo>
                <a:cubicBezTo>
                  <a:pt x="877502" y="416440"/>
                  <a:pt x="869962" y="407797"/>
                  <a:pt x="859459" y="407797"/>
                </a:cubicBezTo>
                <a:close/>
                <a:moveTo>
                  <a:pt x="1432981" y="406242"/>
                </a:moveTo>
                <a:cubicBezTo>
                  <a:pt x="1424752" y="406242"/>
                  <a:pt x="1418797" y="411924"/>
                  <a:pt x="1416643" y="420149"/>
                </a:cubicBezTo>
                <a:lnTo>
                  <a:pt x="1449169" y="420149"/>
                </a:lnTo>
                <a:cubicBezTo>
                  <a:pt x="1447044" y="411057"/>
                  <a:pt x="1440940" y="406242"/>
                  <a:pt x="1432981" y="406242"/>
                </a:cubicBezTo>
                <a:close/>
                <a:moveTo>
                  <a:pt x="705000" y="406242"/>
                </a:moveTo>
                <a:cubicBezTo>
                  <a:pt x="696771" y="406242"/>
                  <a:pt x="690817" y="411924"/>
                  <a:pt x="688662" y="420149"/>
                </a:cubicBezTo>
                <a:lnTo>
                  <a:pt x="721188" y="420149"/>
                </a:lnTo>
                <a:cubicBezTo>
                  <a:pt x="719063" y="411057"/>
                  <a:pt x="712959" y="406242"/>
                  <a:pt x="705000" y="406242"/>
                </a:cubicBezTo>
                <a:close/>
                <a:moveTo>
                  <a:pt x="986749" y="393441"/>
                </a:moveTo>
                <a:lnTo>
                  <a:pt x="1004074" y="393441"/>
                </a:lnTo>
                <a:lnTo>
                  <a:pt x="1004074" y="434654"/>
                </a:lnTo>
                <a:lnTo>
                  <a:pt x="1004074" y="461482"/>
                </a:lnTo>
                <a:lnTo>
                  <a:pt x="986749" y="461482"/>
                </a:lnTo>
                <a:close/>
                <a:moveTo>
                  <a:pt x="904881" y="393441"/>
                </a:moveTo>
                <a:lnTo>
                  <a:pt x="923912" y="393441"/>
                </a:lnTo>
                <a:lnTo>
                  <a:pt x="941237" y="445989"/>
                </a:lnTo>
                <a:lnTo>
                  <a:pt x="958861" y="393441"/>
                </a:lnTo>
                <a:lnTo>
                  <a:pt x="976635" y="393441"/>
                </a:lnTo>
                <a:lnTo>
                  <a:pt x="952069" y="461482"/>
                </a:lnTo>
                <a:lnTo>
                  <a:pt x="929477" y="461482"/>
                </a:lnTo>
                <a:close/>
                <a:moveTo>
                  <a:pt x="1509133" y="391646"/>
                </a:moveTo>
                <a:cubicBezTo>
                  <a:pt x="1518379" y="391646"/>
                  <a:pt x="1525471" y="395774"/>
                  <a:pt x="1530019" y="402443"/>
                </a:cubicBezTo>
                <a:lnTo>
                  <a:pt x="1530019" y="393471"/>
                </a:lnTo>
                <a:lnTo>
                  <a:pt x="1547344" y="393471"/>
                </a:lnTo>
                <a:lnTo>
                  <a:pt x="1547344" y="461512"/>
                </a:lnTo>
                <a:lnTo>
                  <a:pt x="1530019" y="461512"/>
                </a:lnTo>
                <a:lnTo>
                  <a:pt x="1530019" y="451851"/>
                </a:lnTo>
                <a:cubicBezTo>
                  <a:pt x="1525471" y="458820"/>
                  <a:pt x="1518379" y="463366"/>
                  <a:pt x="1509133" y="463366"/>
                </a:cubicBezTo>
                <a:cubicBezTo>
                  <a:pt x="1491239" y="463366"/>
                  <a:pt x="1476607" y="448741"/>
                  <a:pt x="1476607" y="427446"/>
                </a:cubicBezTo>
                <a:cubicBezTo>
                  <a:pt x="1476607" y="406989"/>
                  <a:pt x="1490402" y="391646"/>
                  <a:pt x="1509133" y="391646"/>
                </a:cubicBezTo>
                <a:close/>
                <a:moveTo>
                  <a:pt x="1432681" y="391646"/>
                </a:moveTo>
                <a:cubicBezTo>
                  <a:pt x="1452161" y="391646"/>
                  <a:pt x="1467062" y="406571"/>
                  <a:pt x="1467062" y="426160"/>
                </a:cubicBezTo>
                <a:cubicBezTo>
                  <a:pt x="1467092" y="428403"/>
                  <a:pt x="1466942" y="431095"/>
                  <a:pt x="1466673" y="432232"/>
                </a:cubicBezTo>
                <a:lnTo>
                  <a:pt x="1416224" y="432232"/>
                </a:lnTo>
                <a:cubicBezTo>
                  <a:pt x="1418079" y="441593"/>
                  <a:pt x="1425171" y="448143"/>
                  <a:pt x="1435554" y="448143"/>
                </a:cubicBezTo>
                <a:cubicBezTo>
                  <a:pt x="1442526" y="448143"/>
                  <a:pt x="1448331" y="445152"/>
                  <a:pt x="1452310" y="441055"/>
                </a:cubicBezTo>
                <a:lnTo>
                  <a:pt x="1461257" y="452988"/>
                </a:lnTo>
                <a:cubicBezTo>
                  <a:pt x="1455991" y="458820"/>
                  <a:pt x="1446326" y="463366"/>
                  <a:pt x="1434955" y="463366"/>
                </a:cubicBezTo>
                <a:cubicBezTo>
                  <a:pt x="1413771" y="463366"/>
                  <a:pt x="1398450" y="447305"/>
                  <a:pt x="1398450" y="427446"/>
                </a:cubicBezTo>
                <a:cubicBezTo>
                  <a:pt x="1398450" y="407707"/>
                  <a:pt x="1413082" y="391646"/>
                  <a:pt x="1432681" y="391646"/>
                </a:cubicBezTo>
                <a:close/>
                <a:moveTo>
                  <a:pt x="1178252" y="391646"/>
                </a:moveTo>
                <a:cubicBezTo>
                  <a:pt x="1187498" y="391646"/>
                  <a:pt x="1194589" y="395774"/>
                  <a:pt x="1199137" y="402443"/>
                </a:cubicBezTo>
                <a:lnTo>
                  <a:pt x="1199137" y="393471"/>
                </a:lnTo>
                <a:lnTo>
                  <a:pt x="1216463" y="393471"/>
                </a:lnTo>
                <a:lnTo>
                  <a:pt x="1216463" y="461512"/>
                </a:lnTo>
                <a:lnTo>
                  <a:pt x="1199137" y="461512"/>
                </a:lnTo>
                <a:lnTo>
                  <a:pt x="1199137" y="451851"/>
                </a:lnTo>
                <a:cubicBezTo>
                  <a:pt x="1194589" y="458820"/>
                  <a:pt x="1187498" y="463366"/>
                  <a:pt x="1178252" y="463366"/>
                </a:cubicBezTo>
                <a:cubicBezTo>
                  <a:pt x="1160358" y="463366"/>
                  <a:pt x="1145726" y="448741"/>
                  <a:pt x="1145726" y="427446"/>
                </a:cubicBezTo>
                <a:cubicBezTo>
                  <a:pt x="1145726" y="406989"/>
                  <a:pt x="1159520" y="391646"/>
                  <a:pt x="1178252" y="391646"/>
                </a:cubicBezTo>
                <a:close/>
                <a:moveTo>
                  <a:pt x="856616" y="391646"/>
                </a:moveTo>
                <a:cubicBezTo>
                  <a:pt x="865862" y="391646"/>
                  <a:pt x="872954" y="395774"/>
                  <a:pt x="877502" y="402443"/>
                </a:cubicBezTo>
                <a:lnTo>
                  <a:pt x="877502" y="393471"/>
                </a:lnTo>
                <a:lnTo>
                  <a:pt x="894827" y="393471"/>
                </a:lnTo>
                <a:lnTo>
                  <a:pt x="894827" y="461512"/>
                </a:lnTo>
                <a:lnTo>
                  <a:pt x="877502" y="461512"/>
                </a:lnTo>
                <a:lnTo>
                  <a:pt x="877502" y="451851"/>
                </a:lnTo>
                <a:cubicBezTo>
                  <a:pt x="872954" y="458820"/>
                  <a:pt x="865862" y="463366"/>
                  <a:pt x="856616" y="463366"/>
                </a:cubicBezTo>
                <a:cubicBezTo>
                  <a:pt x="838723" y="463366"/>
                  <a:pt x="824091" y="448741"/>
                  <a:pt x="824091" y="427446"/>
                </a:cubicBezTo>
                <a:cubicBezTo>
                  <a:pt x="824091" y="406989"/>
                  <a:pt x="837885" y="391646"/>
                  <a:pt x="856616" y="391646"/>
                </a:cubicBezTo>
                <a:close/>
                <a:moveTo>
                  <a:pt x="704701" y="391646"/>
                </a:moveTo>
                <a:cubicBezTo>
                  <a:pt x="724180" y="391646"/>
                  <a:pt x="739081" y="406571"/>
                  <a:pt x="739081" y="426160"/>
                </a:cubicBezTo>
                <a:cubicBezTo>
                  <a:pt x="739111" y="428403"/>
                  <a:pt x="738962" y="431095"/>
                  <a:pt x="738692" y="432232"/>
                </a:cubicBezTo>
                <a:lnTo>
                  <a:pt x="688243" y="432232"/>
                </a:lnTo>
                <a:cubicBezTo>
                  <a:pt x="690099" y="441593"/>
                  <a:pt x="697190" y="448143"/>
                  <a:pt x="707573" y="448143"/>
                </a:cubicBezTo>
                <a:cubicBezTo>
                  <a:pt x="714545" y="448143"/>
                  <a:pt x="720350" y="445152"/>
                  <a:pt x="724330" y="441055"/>
                </a:cubicBezTo>
                <a:lnTo>
                  <a:pt x="733276" y="452988"/>
                </a:lnTo>
                <a:cubicBezTo>
                  <a:pt x="728010" y="458820"/>
                  <a:pt x="718345" y="463366"/>
                  <a:pt x="706975" y="463366"/>
                </a:cubicBezTo>
                <a:cubicBezTo>
                  <a:pt x="685790" y="463366"/>
                  <a:pt x="670469" y="447305"/>
                  <a:pt x="670469" y="427446"/>
                </a:cubicBezTo>
                <a:cubicBezTo>
                  <a:pt x="670469" y="407707"/>
                  <a:pt x="685102" y="391646"/>
                  <a:pt x="704701" y="391646"/>
                </a:cubicBezTo>
                <a:close/>
                <a:moveTo>
                  <a:pt x="1051680" y="391616"/>
                </a:moveTo>
                <a:cubicBezTo>
                  <a:pt x="1071429" y="391616"/>
                  <a:pt x="1087048" y="407677"/>
                  <a:pt x="1087048" y="427417"/>
                </a:cubicBezTo>
                <a:cubicBezTo>
                  <a:pt x="1087048" y="447305"/>
                  <a:pt x="1071429" y="463336"/>
                  <a:pt x="1051680" y="463336"/>
                </a:cubicBezTo>
                <a:cubicBezTo>
                  <a:pt x="1031931" y="463336"/>
                  <a:pt x="1016312" y="447276"/>
                  <a:pt x="1016312" y="427417"/>
                </a:cubicBezTo>
                <a:cubicBezTo>
                  <a:pt x="1016312" y="407647"/>
                  <a:pt x="1031931" y="391616"/>
                  <a:pt x="1051680" y="391616"/>
                </a:cubicBezTo>
                <a:close/>
                <a:moveTo>
                  <a:pt x="1133219" y="391587"/>
                </a:moveTo>
                <a:cubicBezTo>
                  <a:pt x="1137767" y="391616"/>
                  <a:pt x="1141477" y="392753"/>
                  <a:pt x="1144020" y="394876"/>
                </a:cubicBezTo>
                <a:lnTo>
                  <a:pt x="1136929" y="411206"/>
                </a:lnTo>
                <a:cubicBezTo>
                  <a:pt x="1134655" y="409502"/>
                  <a:pt x="1131244" y="408365"/>
                  <a:pt x="1127833" y="408365"/>
                </a:cubicBezTo>
                <a:cubicBezTo>
                  <a:pt x="1121010" y="408365"/>
                  <a:pt x="1116462" y="414197"/>
                  <a:pt x="1116462" y="423409"/>
                </a:cubicBezTo>
                <a:lnTo>
                  <a:pt x="1116462" y="461482"/>
                </a:lnTo>
                <a:lnTo>
                  <a:pt x="1099137" y="461482"/>
                </a:lnTo>
                <a:lnTo>
                  <a:pt x="1099137" y="393441"/>
                </a:lnTo>
                <a:lnTo>
                  <a:pt x="1116462" y="393441"/>
                </a:lnTo>
                <a:lnTo>
                  <a:pt x="1116462" y="403520"/>
                </a:lnTo>
                <a:cubicBezTo>
                  <a:pt x="1119724" y="396282"/>
                  <a:pt x="1125558" y="391587"/>
                  <a:pt x="1133219" y="391587"/>
                </a:cubicBezTo>
                <a:close/>
                <a:moveTo>
                  <a:pt x="609398" y="386173"/>
                </a:moveTo>
                <a:lnTo>
                  <a:pt x="609398" y="386203"/>
                </a:lnTo>
                <a:lnTo>
                  <a:pt x="609398" y="408066"/>
                </a:lnTo>
                <a:lnTo>
                  <a:pt x="626603" y="408066"/>
                </a:lnTo>
                <a:cubicBezTo>
                  <a:pt x="634413" y="408066"/>
                  <a:pt x="639829" y="403520"/>
                  <a:pt x="639829" y="397120"/>
                </a:cubicBezTo>
                <a:cubicBezTo>
                  <a:pt x="639829" y="390719"/>
                  <a:pt x="634293" y="386173"/>
                  <a:pt x="626603" y="386173"/>
                </a:cubicBezTo>
                <a:close/>
                <a:moveTo>
                  <a:pt x="1608595" y="375855"/>
                </a:moveTo>
                <a:lnTo>
                  <a:pt x="1626069" y="375855"/>
                </a:lnTo>
                <a:lnTo>
                  <a:pt x="1626069" y="393471"/>
                </a:lnTo>
                <a:lnTo>
                  <a:pt x="1644412" y="393471"/>
                </a:lnTo>
                <a:lnTo>
                  <a:pt x="1644412" y="408814"/>
                </a:lnTo>
                <a:lnTo>
                  <a:pt x="1626219" y="408814"/>
                </a:lnTo>
                <a:lnTo>
                  <a:pt x="1626219" y="437795"/>
                </a:lnTo>
                <a:cubicBezTo>
                  <a:pt x="1626219" y="444195"/>
                  <a:pt x="1628763" y="447156"/>
                  <a:pt x="1633879" y="447156"/>
                </a:cubicBezTo>
                <a:cubicBezTo>
                  <a:pt x="1637141" y="447156"/>
                  <a:pt x="1640283" y="445720"/>
                  <a:pt x="1641988" y="443746"/>
                </a:cubicBezTo>
                <a:lnTo>
                  <a:pt x="1649648" y="456667"/>
                </a:lnTo>
                <a:cubicBezTo>
                  <a:pt x="1645968" y="460345"/>
                  <a:pt x="1639564" y="463336"/>
                  <a:pt x="1631186" y="463336"/>
                </a:cubicBezTo>
                <a:cubicBezTo>
                  <a:pt x="1617392" y="463336"/>
                  <a:pt x="1608595" y="454812"/>
                  <a:pt x="1608595" y="438213"/>
                </a:cubicBezTo>
                <a:lnTo>
                  <a:pt x="1608595" y="408814"/>
                </a:lnTo>
                <a:lnTo>
                  <a:pt x="1596656" y="408814"/>
                </a:lnTo>
                <a:lnTo>
                  <a:pt x="1596656" y="393471"/>
                </a:lnTo>
                <a:lnTo>
                  <a:pt x="1608595" y="393471"/>
                </a:lnTo>
                <a:close/>
                <a:moveTo>
                  <a:pt x="591654" y="370591"/>
                </a:moveTo>
                <a:lnTo>
                  <a:pt x="591804" y="370591"/>
                </a:lnTo>
                <a:cubicBezTo>
                  <a:pt x="592103" y="370591"/>
                  <a:pt x="609428" y="370591"/>
                  <a:pt x="609428" y="370591"/>
                </a:cubicBezTo>
                <a:lnTo>
                  <a:pt x="628339" y="370591"/>
                </a:lnTo>
                <a:cubicBezTo>
                  <a:pt x="645395" y="370591"/>
                  <a:pt x="658321" y="380969"/>
                  <a:pt x="658321" y="395714"/>
                </a:cubicBezTo>
                <a:cubicBezTo>
                  <a:pt x="658321" y="406361"/>
                  <a:pt x="650930" y="412193"/>
                  <a:pt x="644826" y="414735"/>
                </a:cubicBezTo>
                <a:cubicBezTo>
                  <a:pt x="653743" y="417457"/>
                  <a:pt x="660834" y="424545"/>
                  <a:pt x="660834" y="435910"/>
                </a:cubicBezTo>
                <a:cubicBezTo>
                  <a:pt x="660834" y="449549"/>
                  <a:pt x="650182" y="461482"/>
                  <a:pt x="630433" y="461482"/>
                </a:cubicBezTo>
                <a:lnTo>
                  <a:pt x="591654" y="461482"/>
                </a:lnTo>
                <a:close/>
                <a:moveTo>
                  <a:pt x="1306678" y="370442"/>
                </a:moveTo>
                <a:lnTo>
                  <a:pt x="1324452" y="370442"/>
                </a:lnTo>
                <a:lnTo>
                  <a:pt x="1324452" y="406660"/>
                </a:lnTo>
                <a:lnTo>
                  <a:pt x="1367929" y="406660"/>
                </a:lnTo>
                <a:lnTo>
                  <a:pt x="1367929" y="370442"/>
                </a:lnTo>
                <a:lnTo>
                  <a:pt x="1385703" y="370442"/>
                </a:lnTo>
                <a:lnTo>
                  <a:pt x="1385703" y="461482"/>
                </a:lnTo>
                <a:lnTo>
                  <a:pt x="1367929" y="461482"/>
                </a:lnTo>
                <a:lnTo>
                  <a:pt x="1367929" y="423289"/>
                </a:lnTo>
                <a:lnTo>
                  <a:pt x="1324452" y="423289"/>
                </a:lnTo>
                <a:lnTo>
                  <a:pt x="1324452" y="461482"/>
                </a:lnTo>
                <a:lnTo>
                  <a:pt x="1306678" y="461482"/>
                </a:lnTo>
                <a:close/>
                <a:moveTo>
                  <a:pt x="995426" y="364071"/>
                </a:moveTo>
                <a:cubicBezTo>
                  <a:pt x="1000962" y="364071"/>
                  <a:pt x="1005660" y="368617"/>
                  <a:pt x="1005660" y="374150"/>
                </a:cubicBezTo>
                <a:cubicBezTo>
                  <a:pt x="1005660" y="379833"/>
                  <a:pt x="1000962" y="384379"/>
                  <a:pt x="995426" y="384379"/>
                </a:cubicBezTo>
                <a:cubicBezTo>
                  <a:pt x="989741" y="384379"/>
                  <a:pt x="985342" y="379833"/>
                  <a:pt x="985342" y="374150"/>
                </a:cubicBezTo>
                <a:cubicBezTo>
                  <a:pt x="985342" y="368617"/>
                  <a:pt x="989741" y="364071"/>
                  <a:pt x="995426" y="364071"/>
                </a:cubicBezTo>
                <a:close/>
                <a:moveTo>
                  <a:pt x="1563831" y="363802"/>
                </a:moveTo>
                <a:lnTo>
                  <a:pt x="1581156" y="363802"/>
                </a:lnTo>
                <a:lnTo>
                  <a:pt x="1581156" y="439918"/>
                </a:lnTo>
                <a:cubicBezTo>
                  <a:pt x="1581156" y="445182"/>
                  <a:pt x="1584148" y="447156"/>
                  <a:pt x="1587260" y="447156"/>
                </a:cubicBezTo>
                <a:cubicBezTo>
                  <a:pt x="1588128" y="447156"/>
                  <a:pt x="1589265" y="446857"/>
                  <a:pt x="1590103" y="446438"/>
                </a:cubicBezTo>
                <a:lnTo>
                  <a:pt x="1591958" y="461631"/>
                </a:lnTo>
                <a:cubicBezTo>
                  <a:pt x="1589415" y="462499"/>
                  <a:pt x="1586123" y="463067"/>
                  <a:pt x="1583580" y="463067"/>
                </a:cubicBezTo>
                <a:cubicBezTo>
                  <a:pt x="1573765" y="463067"/>
                  <a:pt x="1563831" y="456816"/>
                  <a:pt x="1563831" y="439499"/>
                </a:cubicBezTo>
                <a:close/>
                <a:moveTo>
                  <a:pt x="1232950" y="363802"/>
                </a:moveTo>
                <a:lnTo>
                  <a:pt x="1250275" y="363802"/>
                </a:lnTo>
                <a:lnTo>
                  <a:pt x="1250275" y="439918"/>
                </a:lnTo>
                <a:cubicBezTo>
                  <a:pt x="1250275" y="445182"/>
                  <a:pt x="1253267" y="447156"/>
                  <a:pt x="1256379" y="447156"/>
                </a:cubicBezTo>
                <a:cubicBezTo>
                  <a:pt x="1257247" y="447156"/>
                  <a:pt x="1258384" y="446857"/>
                  <a:pt x="1259222" y="446438"/>
                </a:cubicBezTo>
                <a:lnTo>
                  <a:pt x="1261077" y="461631"/>
                </a:lnTo>
                <a:cubicBezTo>
                  <a:pt x="1258533" y="462499"/>
                  <a:pt x="1255242" y="463067"/>
                  <a:pt x="1252698" y="463067"/>
                </a:cubicBezTo>
                <a:cubicBezTo>
                  <a:pt x="1242884" y="463067"/>
                  <a:pt x="1232950" y="456816"/>
                  <a:pt x="1232950" y="439499"/>
                </a:cubicBezTo>
                <a:close/>
                <a:moveTo>
                  <a:pt x="1661168" y="363772"/>
                </a:moveTo>
                <a:lnTo>
                  <a:pt x="1678494" y="363772"/>
                </a:lnTo>
                <a:lnTo>
                  <a:pt x="1678494" y="403101"/>
                </a:lnTo>
                <a:cubicBezTo>
                  <a:pt x="1682054" y="395863"/>
                  <a:pt x="1688876" y="391587"/>
                  <a:pt x="1697823" y="391587"/>
                </a:cubicBezTo>
                <a:cubicBezTo>
                  <a:pt x="1713443" y="391616"/>
                  <a:pt x="1723527" y="402533"/>
                  <a:pt x="1723527" y="420298"/>
                </a:cubicBezTo>
                <a:lnTo>
                  <a:pt x="1723527" y="461482"/>
                </a:lnTo>
                <a:lnTo>
                  <a:pt x="1706202" y="461482"/>
                </a:lnTo>
                <a:lnTo>
                  <a:pt x="1706202" y="422841"/>
                </a:lnTo>
                <a:cubicBezTo>
                  <a:pt x="1706202" y="413599"/>
                  <a:pt x="1700935" y="407797"/>
                  <a:pt x="1692407" y="407797"/>
                </a:cubicBezTo>
                <a:cubicBezTo>
                  <a:pt x="1683880" y="407797"/>
                  <a:pt x="1678494" y="413629"/>
                  <a:pt x="1678494" y="422841"/>
                </a:cubicBezTo>
                <a:lnTo>
                  <a:pt x="1678494" y="461482"/>
                </a:lnTo>
                <a:lnTo>
                  <a:pt x="1661168" y="461482"/>
                </a:lnTo>
                <a:close/>
                <a:moveTo>
                  <a:pt x="750213" y="363772"/>
                </a:moveTo>
                <a:lnTo>
                  <a:pt x="767538" y="363772"/>
                </a:lnTo>
                <a:lnTo>
                  <a:pt x="767538" y="403101"/>
                </a:lnTo>
                <a:cubicBezTo>
                  <a:pt x="771098" y="395863"/>
                  <a:pt x="777921" y="391587"/>
                  <a:pt x="786867" y="391587"/>
                </a:cubicBezTo>
                <a:cubicBezTo>
                  <a:pt x="802487" y="391616"/>
                  <a:pt x="812571" y="402533"/>
                  <a:pt x="812571" y="420298"/>
                </a:cubicBezTo>
                <a:lnTo>
                  <a:pt x="812571" y="461482"/>
                </a:lnTo>
                <a:lnTo>
                  <a:pt x="795246" y="461482"/>
                </a:lnTo>
                <a:lnTo>
                  <a:pt x="795246" y="422841"/>
                </a:lnTo>
                <a:cubicBezTo>
                  <a:pt x="795246" y="413599"/>
                  <a:pt x="789979" y="407797"/>
                  <a:pt x="781451" y="407797"/>
                </a:cubicBezTo>
                <a:cubicBezTo>
                  <a:pt x="772924" y="407797"/>
                  <a:pt x="767538" y="413629"/>
                  <a:pt x="767538" y="422841"/>
                </a:cubicBezTo>
                <a:lnTo>
                  <a:pt x="767538" y="461482"/>
                </a:lnTo>
                <a:lnTo>
                  <a:pt x="750213" y="461482"/>
                </a:lnTo>
                <a:close/>
                <a:moveTo>
                  <a:pt x="1760720" y="269382"/>
                </a:moveTo>
                <a:lnTo>
                  <a:pt x="1764580" y="269382"/>
                </a:lnTo>
                <a:lnTo>
                  <a:pt x="1773138" y="282960"/>
                </a:lnTo>
                <a:lnTo>
                  <a:pt x="1781666" y="269382"/>
                </a:lnTo>
                <a:lnTo>
                  <a:pt x="1785077" y="269382"/>
                </a:lnTo>
                <a:lnTo>
                  <a:pt x="1785077" y="293099"/>
                </a:lnTo>
                <a:lnTo>
                  <a:pt x="1781756" y="293099"/>
                </a:lnTo>
                <a:lnTo>
                  <a:pt x="1781756" y="274705"/>
                </a:lnTo>
                <a:lnTo>
                  <a:pt x="1772929" y="288433"/>
                </a:lnTo>
                <a:lnTo>
                  <a:pt x="1764042" y="274705"/>
                </a:lnTo>
                <a:lnTo>
                  <a:pt x="1764042" y="293099"/>
                </a:lnTo>
                <a:lnTo>
                  <a:pt x="1760720" y="293099"/>
                </a:lnTo>
                <a:close/>
                <a:moveTo>
                  <a:pt x="1748452" y="268963"/>
                </a:moveTo>
                <a:cubicBezTo>
                  <a:pt x="1752163" y="268963"/>
                  <a:pt x="1755155" y="270578"/>
                  <a:pt x="1756591" y="272642"/>
                </a:cubicBezTo>
                <a:lnTo>
                  <a:pt x="1754287" y="274885"/>
                </a:lnTo>
                <a:cubicBezTo>
                  <a:pt x="1753210" y="273359"/>
                  <a:pt x="1750966" y="272073"/>
                  <a:pt x="1748392" y="272073"/>
                </a:cubicBezTo>
                <a:cubicBezTo>
                  <a:pt x="1745550" y="272073"/>
                  <a:pt x="1743754" y="273330"/>
                  <a:pt x="1743754" y="275274"/>
                </a:cubicBezTo>
                <a:cubicBezTo>
                  <a:pt x="1743754" y="280508"/>
                  <a:pt x="1757010" y="278115"/>
                  <a:pt x="1757010" y="286549"/>
                </a:cubicBezTo>
                <a:cubicBezTo>
                  <a:pt x="1757010" y="290736"/>
                  <a:pt x="1753599" y="293547"/>
                  <a:pt x="1748303" y="293547"/>
                </a:cubicBezTo>
                <a:cubicBezTo>
                  <a:pt x="1743844" y="293547"/>
                  <a:pt x="1740972" y="291813"/>
                  <a:pt x="1739326" y="289510"/>
                </a:cubicBezTo>
                <a:lnTo>
                  <a:pt x="1741720" y="287267"/>
                </a:lnTo>
                <a:cubicBezTo>
                  <a:pt x="1743306" y="289330"/>
                  <a:pt x="1745610" y="290407"/>
                  <a:pt x="1748303" y="290407"/>
                </a:cubicBezTo>
                <a:cubicBezTo>
                  <a:pt x="1751564" y="290407"/>
                  <a:pt x="1753419" y="289001"/>
                  <a:pt x="1753419" y="286788"/>
                </a:cubicBezTo>
                <a:cubicBezTo>
                  <a:pt x="1753419" y="281016"/>
                  <a:pt x="1740164" y="283558"/>
                  <a:pt x="1740164" y="275393"/>
                </a:cubicBezTo>
                <a:cubicBezTo>
                  <a:pt x="1740164" y="271565"/>
                  <a:pt x="1743545" y="268963"/>
                  <a:pt x="1748452" y="268963"/>
                </a:cubicBezTo>
                <a:close/>
                <a:moveTo>
                  <a:pt x="1411587" y="134646"/>
                </a:moveTo>
                <a:cubicBezTo>
                  <a:pt x="1380557" y="134646"/>
                  <a:pt x="1357906" y="160217"/>
                  <a:pt x="1357906" y="192488"/>
                </a:cubicBezTo>
                <a:cubicBezTo>
                  <a:pt x="1357906" y="224759"/>
                  <a:pt x="1380557" y="250749"/>
                  <a:pt x="1411587" y="250749"/>
                </a:cubicBezTo>
                <a:cubicBezTo>
                  <a:pt x="1442197" y="250749"/>
                  <a:pt x="1464429" y="224759"/>
                  <a:pt x="1464429" y="192488"/>
                </a:cubicBezTo>
                <a:cubicBezTo>
                  <a:pt x="1464429" y="160217"/>
                  <a:pt x="1442197" y="134646"/>
                  <a:pt x="1411587" y="134646"/>
                </a:cubicBezTo>
                <a:close/>
                <a:moveTo>
                  <a:pt x="742014" y="134646"/>
                </a:moveTo>
                <a:cubicBezTo>
                  <a:pt x="710985" y="134646"/>
                  <a:pt x="688334" y="160217"/>
                  <a:pt x="688334" y="192488"/>
                </a:cubicBezTo>
                <a:cubicBezTo>
                  <a:pt x="688334" y="224759"/>
                  <a:pt x="710985" y="250749"/>
                  <a:pt x="742014" y="250749"/>
                </a:cubicBezTo>
                <a:cubicBezTo>
                  <a:pt x="772625" y="250749"/>
                  <a:pt x="794857" y="224759"/>
                  <a:pt x="794857" y="192488"/>
                </a:cubicBezTo>
                <a:cubicBezTo>
                  <a:pt x="794857" y="160217"/>
                  <a:pt x="772625" y="134646"/>
                  <a:pt x="742014" y="134646"/>
                </a:cubicBezTo>
                <a:close/>
                <a:moveTo>
                  <a:pt x="1110987" y="130070"/>
                </a:moveTo>
                <a:cubicBezTo>
                  <a:pt x="1085373" y="130040"/>
                  <a:pt x="1067779" y="147656"/>
                  <a:pt x="1061914" y="173227"/>
                </a:cubicBezTo>
                <a:lnTo>
                  <a:pt x="1158773" y="173227"/>
                </a:lnTo>
                <a:cubicBezTo>
                  <a:pt x="1152908" y="144725"/>
                  <a:pt x="1134865" y="130070"/>
                  <a:pt x="1110987" y="130070"/>
                </a:cubicBezTo>
                <a:close/>
                <a:moveTo>
                  <a:pt x="733636" y="86494"/>
                </a:moveTo>
                <a:cubicBezTo>
                  <a:pt x="760057" y="86494"/>
                  <a:pt x="780584" y="96124"/>
                  <a:pt x="794857" y="112484"/>
                </a:cubicBezTo>
                <a:lnTo>
                  <a:pt x="794857" y="92356"/>
                </a:lnTo>
                <a:lnTo>
                  <a:pt x="846443" y="92356"/>
                </a:lnTo>
                <a:lnTo>
                  <a:pt x="846443" y="293099"/>
                </a:lnTo>
                <a:lnTo>
                  <a:pt x="794857" y="293099"/>
                </a:lnTo>
                <a:lnTo>
                  <a:pt x="794857" y="271296"/>
                </a:lnTo>
                <a:cubicBezTo>
                  <a:pt x="780195" y="288493"/>
                  <a:pt x="759639" y="298961"/>
                  <a:pt x="733636" y="298961"/>
                </a:cubicBezTo>
                <a:cubicBezTo>
                  <a:pt x="680374" y="298961"/>
                  <a:pt x="637196" y="255385"/>
                  <a:pt x="637196" y="192937"/>
                </a:cubicBezTo>
                <a:cubicBezTo>
                  <a:pt x="637196" y="132164"/>
                  <a:pt x="677861" y="86494"/>
                  <a:pt x="733636" y="86494"/>
                </a:cubicBezTo>
                <a:close/>
                <a:moveTo>
                  <a:pt x="555628" y="86494"/>
                </a:moveTo>
                <a:cubicBezTo>
                  <a:pt x="590009" y="86494"/>
                  <a:pt x="617268" y="98218"/>
                  <a:pt x="634862" y="116671"/>
                </a:cubicBezTo>
                <a:lnTo>
                  <a:pt x="605509" y="153129"/>
                </a:lnTo>
                <a:cubicBezTo>
                  <a:pt x="592941" y="140957"/>
                  <a:pt x="577860" y="134676"/>
                  <a:pt x="558141" y="134676"/>
                </a:cubicBezTo>
                <a:cubicBezTo>
                  <a:pt x="524599" y="134676"/>
                  <a:pt x="501947" y="160247"/>
                  <a:pt x="501947" y="192518"/>
                </a:cubicBezTo>
                <a:cubicBezTo>
                  <a:pt x="501947" y="224789"/>
                  <a:pt x="525017" y="250779"/>
                  <a:pt x="557723" y="250779"/>
                </a:cubicBezTo>
                <a:cubicBezTo>
                  <a:pt x="578279" y="250779"/>
                  <a:pt x="594617" y="243661"/>
                  <a:pt x="607184" y="231070"/>
                </a:cubicBezTo>
                <a:lnTo>
                  <a:pt x="633187" y="268784"/>
                </a:lnTo>
                <a:cubicBezTo>
                  <a:pt x="617238" y="286370"/>
                  <a:pt x="588333" y="298961"/>
                  <a:pt x="556466" y="298961"/>
                </a:cubicBezTo>
                <a:cubicBezTo>
                  <a:pt x="496920" y="298961"/>
                  <a:pt x="450810" y="251198"/>
                  <a:pt x="450810" y="192937"/>
                </a:cubicBezTo>
                <a:cubicBezTo>
                  <a:pt x="450810" y="134257"/>
                  <a:pt x="496920" y="86494"/>
                  <a:pt x="555628" y="86494"/>
                </a:cubicBezTo>
                <a:close/>
                <a:moveTo>
                  <a:pt x="1647225" y="86464"/>
                </a:moveTo>
                <a:cubicBezTo>
                  <a:pt x="1693754" y="86464"/>
                  <a:pt x="1723527" y="119154"/>
                  <a:pt x="1723527" y="171553"/>
                </a:cubicBezTo>
                <a:lnTo>
                  <a:pt x="1723527" y="293099"/>
                </a:lnTo>
                <a:lnTo>
                  <a:pt x="1672360" y="293099"/>
                </a:lnTo>
                <a:lnTo>
                  <a:pt x="1672360" y="179089"/>
                </a:lnTo>
                <a:cubicBezTo>
                  <a:pt x="1672360" y="151843"/>
                  <a:pt x="1656411" y="134676"/>
                  <a:pt x="1631695" y="134676"/>
                </a:cubicBezTo>
                <a:cubicBezTo>
                  <a:pt x="1606112" y="134676"/>
                  <a:pt x="1590612" y="151843"/>
                  <a:pt x="1590612" y="179089"/>
                </a:cubicBezTo>
                <a:lnTo>
                  <a:pt x="1590612" y="293069"/>
                </a:lnTo>
                <a:lnTo>
                  <a:pt x="1539445" y="293069"/>
                </a:lnTo>
                <a:lnTo>
                  <a:pt x="1539445" y="92326"/>
                </a:lnTo>
                <a:lnTo>
                  <a:pt x="1590612" y="92326"/>
                </a:lnTo>
                <a:lnTo>
                  <a:pt x="1590612" y="112035"/>
                </a:lnTo>
                <a:cubicBezTo>
                  <a:pt x="1603179" y="95676"/>
                  <a:pt x="1622479" y="86464"/>
                  <a:pt x="1647225" y="86464"/>
                </a:cubicBezTo>
                <a:close/>
                <a:moveTo>
                  <a:pt x="1411168" y="86464"/>
                </a:moveTo>
                <a:cubicBezTo>
                  <a:pt x="1469456" y="86464"/>
                  <a:pt x="1515986" y="134227"/>
                  <a:pt x="1515986" y="192907"/>
                </a:cubicBezTo>
                <a:cubicBezTo>
                  <a:pt x="1515986" y="251168"/>
                  <a:pt x="1469456" y="298931"/>
                  <a:pt x="1411168" y="298931"/>
                </a:cubicBezTo>
                <a:cubicBezTo>
                  <a:pt x="1352879" y="298961"/>
                  <a:pt x="1306769" y="251168"/>
                  <a:pt x="1306769" y="192907"/>
                </a:cubicBezTo>
                <a:cubicBezTo>
                  <a:pt x="1306769" y="134227"/>
                  <a:pt x="1352879" y="86464"/>
                  <a:pt x="1411168" y="86464"/>
                </a:cubicBezTo>
                <a:close/>
                <a:moveTo>
                  <a:pt x="1110119" y="86464"/>
                </a:moveTo>
                <a:cubicBezTo>
                  <a:pt x="1167570" y="86464"/>
                  <a:pt x="1211167" y="130878"/>
                  <a:pt x="1211167" y="188720"/>
                </a:cubicBezTo>
                <a:cubicBezTo>
                  <a:pt x="1211167" y="195001"/>
                  <a:pt x="1210748" y="202119"/>
                  <a:pt x="1209910" y="205468"/>
                </a:cubicBezTo>
                <a:lnTo>
                  <a:pt x="1061046" y="205468"/>
                </a:lnTo>
                <a:cubicBezTo>
                  <a:pt x="1066073" y="233552"/>
                  <a:pt x="1087468" y="253680"/>
                  <a:pt x="1118497" y="253680"/>
                </a:cubicBezTo>
                <a:cubicBezTo>
                  <a:pt x="1138635" y="253680"/>
                  <a:pt x="1155810" y="244887"/>
                  <a:pt x="1167570" y="232715"/>
                </a:cubicBezTo>
                <a:lnTo>
                  <a:pt x="1193991" y="267498"/>
                </a:lnTo>
                <a:cubicBezTo>
                  <a:pt x="1178910" y="285084"/>
                  <a:pt x="1150394" y="298931"/>
                  <a:pt x="1116433" y="298931"/>
                </a:cubicBezTo>
                <a:cubicBezTo>
                  <a:pt x="1053925" y="298961"/>
                  <a:pt x="1008652" y="251168"/>
                  <a:pt x="1008652" y="192907"/>
                </a:cubicBezTo>
                <a:cubicBezTo>
                  <a:pt x="1008652" y="134227"/>
                  <a:pt x="1052249" y="86464"/>
                  <a:pt x="1110119" y="86464"/>
                </a:cubicBezTo>
                <a:close/>
                <a:moveTo>
                  <a:pt x="983518" y="86464"/>
                </a:moveTo>
                <a:cubicBezTo>
                  <a:pt x="996923" y="86464"/>
                  <a:pt x="1007844" y="90232"/>
                  <a:pt x="1015804" y="96513"/>
                </a:cubicBezTo>
                <a:lnTo>
                  <a:pt x="994409" y="145144"/>
                </a:lnTo>
                <a:cubicBezTo>
                  <a:pt x="987707" y="139700"/>
                  <a:pt x="977623" y="136351"/>
                  <a:pt x="967988" y="136351"/>
                </a:cubicBezTo>
                <a:cubicBezTo>
                  <a:pt x="947431" y="136351"/>
                  <a:pt x="934445" y="153548"/>
                  <a:pt x="934445" y="180764"/>
                </a:cubicBezTo>
                <a:lnTo>
                  <a:pt x="934445" y="293069"/>
                </a:lnTo>
                <a:lnTo>
                  <a:pt x="883278" y="293069"/>
                </a:lnTo>
                <a:lnTo>
                  <a:pt x="883278" y="92326"/>
                </a:lnTo>
                <a:lnTo>
                  <a:pt x="934445" y="92326"/>
                </a:lnTo>
                <a:lnTo>
                  <a:pt x="934445" y="114129"/>
                </a:lnTo>
                <a:cubicBezTo>
                  <a:pt x="945756" y="97351"/>
                  <a:pt x="962542" y="86464"/>
                  <a:pt x="983518" y="86464"/>
                </a:cubicBezTo>
                <a:close/>
                <a:moveTo>
                  <a:pt x="289840" y="38556"/>
                </a:moveTo>
                <a:cubicBezTo>
                  <a:pt x="268622" y="39645"/>
                  <a:pt x="249103" y="53154"/>
                  <a:pt x="241383" y="74352"/>
                </a:cubicBezTo>
                <a:cubicBezTo>
                  <a:pt x="235129" y="91489"/>
                  <a:pt x="238062" y="109763"/>
                  <a:pt x="247637" y="123760"/>
                </a:cubicBezTo>
                <a:lnTo>
                  <a:pt x="192849" y="146131"/>
                </a:lnTo>
                <a:lnTo>
                  <a:pt x="138151" y="123610"/>
                </a:lnTo>
                <a:cubicBezTo>
                  <a:pt x="140635" y="119962"/>
                  <a:pt x="142699" y="115924"/>
                  <a:pt x="144285" y="111587"/>
                </a:cubicBezTo>
                <a:lnTo>
                  <a:pt x="147574" y="93063"/>
                </a:lnTo>
                <a:lnTo>
                  <a:pt x="137965" y="62101"/>
                </a:lnTo>
                <a:cubicBezTo>
                  <a:pt x="131763" y="53072"/>
                  <a:pt x="122787" y="45819"/>
                  <a:pt x="111700" y="41782"/>
                </a:cubicBezTo>
                <a:cubicBezTo>
                  <a:pt x="104624" y="39210"/>
                  <a:pt x="97362" y="38193"/>
                  <a:pt x="90289" y="38556"/>
                </a:cubicBezTo>
                <a:cubicBezTo>
                  <a:pt x="69070" y="39645"/>
                  <a:pt x="49552" y="53154"/>
                  <a:pt x="41831" y="74352"/>
                </a:cubicBezTo>
                <a:cubicBezTo>
                  <a:pt x="31538" y="102645"/>
                  <a:pt x="46140" y="133899"/>
                  <a:pt x="74417" y="144187"/>
                </a:cubicBezTo>
                <a:cubicBezTo>
                  <a:pt x="91562" y="150438"/>
                  <a:pt x="109845" y="147507"/>
                  <a:pt x="123849" y="137936"/>
                </a:cubicBezTo>
                <a:lnTo>
                  <a:pt x="146231" y="192668"/>
                </a:lnTo>
                <a:lnTo>
                  <a:pt x="123699" y="247340"/>
                </a:lnTo>
                <a:cubicBezTo>
                  <a:pt x="120048" y="244858"/>
                  <a:pt x="116009" y="242794"/>
                  <a:pt x="111670" y="241209"/>
                </a:cubicBezTo>
                <a:cubicBezTo>
                  <a:pt x="105536" y="238996"/>
                  <a:pt x="99282" y="237919"/>
                  <a:pt x="93118" y="237919"/>
                </a:cubicBezTo>
                <a:lnTo>
                  <a:pt x="93128" y="237895"/>
                </a:lnTo>
                <a:lnTo>
                  <a:pt x="62160" y="247497"/>
                </a:lnTo>
                <a:cubicBezTo>
                  <a:pt x="53127" y="253696"/>
                  <a:pt x="45871" y="262668"/>
                  <a:pt x="41831" y="273749"/>
                </a:cubicBezTo>
                <a:cubicBezTo>
                  <a:pt x="31538" y="302042"/>
                  <a:pt x="46140" y="333296"/>
                  <a:pt x="74417" y="343584"/>
                </a:cubicBezTo>
                <a:cubicBezTo>
                  <a:pt x="102723" y="353872"/>
                  <a:pt x="133992" y="339277"/>
                  <a:pt x="144286" y="311014"/>
                </a:cubicBezTo>
                <a:cubicBezTo>
                  <a:pt x="150539" y="293877"/>
                  <a:pt x="147607" y="275603"/>
                  <a:pt x="138032" y="261606"/>
                </a:cubicBezTo>
                <a:lnTo>
                  <a:pt x="192820" y="239235"/>
                </a:lnTo>
                <a:lnTo>
                  <a:pt x="247458" y="261785"/>
                </a:lnTo>
                <a:cubicBezTo>
                  <a:pt x="244974" y="265434"/>
                  <a:pt x="242910" y="269472"/>
                  <a:pt x="241324" y="273808"/>
                </a:cubicBezTo>
                <a:lnTo>
                  <a:pt x="238035" y="292332"/>
                </a:lnTo>
                <a:lnTo>
                  <a:pt x="247644" y="323295"/>
                </a:lnTo>
                <a:cubicBezTo>
                  <a:pt x="253846" y="332324"/>
                  <a:pt x="262823" y="339577"/>
                  <a:pt x="273909" y="343614"/>
                </a:cubicBezTo>
                <a:cubicBezTo>
                  <a:pt x="302215" y="353902"/>
                  <a:pt x="333484" y="339307"/>
                  <a:pt x="343778" y="311044"/>
                </a:cubicBezTo>
                <a:cubicBezTo>
                  <a:pt x="354071" y="282751"/>
                  <a:pt x="339469" y="251497"/>
                  <a:pt x="311192" y="241208"/>
                </a:cubicBezTo>
                <a:cubicBezTo>
                  <a:pt x="294047" y="234958"/>
                  <a:pt x="275764" y="237889"/>
                  <a:pt x="261760" y="247459"/>
                </a:cubicBezTo>
                <a:lnTo>
                  <a:pt x="239379" y="192697"/>
                </a:lnTo>
                <a:lnTo>
                  <a:pt x="261940" y="138115"/>
                </a:lnTo>
                <a:cubicBezTo>
                  <a:pt x="265591" y="140597"/>
                  <a:pt x="269630" y="142661"/>
                  <a:pt x="273969" y="144246"/>
                </a:cubicBezTo>
                <a:lnTo>
                  <a:pt x="292497" y="147532"/>
                </a:lnTo>
                <a:lnTo>
                  <a:pt x="292520" y="147477"/>
                </a:lnTo>
                <a:cubicBezTo>
                  <a:pt x="314813" y="147507"/>
                  <a:pt x="335758" y="133779"/>
                  <a:pt x="343837" y="111617"/>
                </a:cubicBezTo>
                <a:cubicBezTo>
                  <a:pt x="354130" y="83324"/>
                  <a:pt x="339528" y="52070"/>
                  <a:pt x="311252" y="41782"/>
                </a:cubicBezTo>
                <a:cubicBezTo>
                  <a:pt x="304175" y="39210"/>
                  <a:pt x="296913" y="38193"/>
                  <a:pt x="289840" y="38556"/>
                </a:cubicBezTo>
                <a:close/>
                <a:moveTo>
                  <a:pt x="1232142" y="4755"/>
                </a:moveTo>
                <a:lnTo>
                  <a:pt x="1283310" y="4755"/>
                </a:lnTo>
                <a:lnTo>
                  <a:pt x="1283310" y="293099"/>
                </a:lnTo>
                <a:lnTo>
                  <a:pt x="1232142" y="293099"/>
                </a:lnTo>
                <a:lnTo>
                  <a:pt x="1232142" y="156868"/>
                </a:lnTo>
                <a:close/>
                <a:moveTo>
                  <a:pt x="93029" y="0"/>
                </a:moveTo>
                <a:cubicBezTo>
                  <a:pt x="144435" y="0"/>
                  <a:pt x="186087" y="41632"/>
                  <a:pt x="186087" y="92984"/>
                </a:cubicBezTo>
                <a:lnTo>
                  <a:pt x="184801" y="108375"/>
                </a:lnTo>
                <a:lnTo>
                  <a:pt x="192819" y="111677"/>
                </a:lnTo>
                <a:lnTo>
                  <a:pt x="200808" y="108387"/>
                </a:lnTo>
                <a:cubicBezTo>
                  <a:pt x="200000" y="103751"/>
                  <a:pt x="199552" y="97859"/>
                  <a:pt x="199552" y="92984"/>
                </a:cubicBezTo>
                <a:cubicBezTo>
                  <a:pt x="199552" y="41632"/>
                  <a:pt x="241204" y="0"/>
                  <a:pt x="292580" y="0"/>
                </a:cubicBezTo>
                <a:cubicBezTo>
                  <a:pt x="343957" y="0"/>
                  <a:pt x="385609" y="41632"/>
                  <a:pt x="385609" y="92984"/>
                </a:cubicBezTo>
                <a:cubicBezTo>
                  <a:pt x="385609" y="144337"/>
                  <a:pt x="343957" y="185969"/>
                  <a:pt x="292580" y="185969"/>
                </a:cubicBezTo>
                <a:lnTo>
                  <a:pt x="277196" y="184685"/>
                </a:lnTo>
                <a:lnTo>
                  <a:pt x="273879" y="192727"/>
                </a:lnTo>
                <a:lnTo>
                  <a:pt x="277170" y="200713"/>
                </a:lnTo>
                <a:cubicBezTo>
                  <a:pt x="281868" y="199875"/>
                  <a:pt x="287703" y="199427"/>
                  <a:pt x="292580" y="199427"/>
                </a:cubicBezTo>
                <a:cubicBezTo>
                  <a:pt x="343957" y="199427"/>
                  <a:pt x="385579" y="241059"/>
                  <a:pt x="385579" y="292411"/>
                </a:cubicBezTo>
                <a:cubicBezTo>
                  <a:pt x="385579" y="343763"/>
                  <a:pt x="343927" y="385395"/>
                  <a:pt x="292551" y="385395"/>
                </a:cubicBezTo>
                <a:cubicBezTo>
                  <a:pt x="241174" y="385395"/>
                  <a:pt x="199522" y="343763"/>
                  <a:pt x="199522" y="292411"/>
                </a:cubicBezTo>
                <a:lnTo>
                  <a:pt x="200808" y="277021"/>
                </a:lnTo>
                <a:lnTo>
                  <a:pt x="192790" y="273719"/>
                </a:lnTo>
                <a:lnTo>
                  <a:pt x="184770" y="277009"/>
                </a:lnTo>
                <a:cubicBezTo>
                  <a:pt x="185638" y="281913"/>
                  <a:pt x="186057" y="287536"/>
                  <a:pt x="186057" y="292411"/>
                </a:cubicBezTo>
                <a:cubicBezTo>
                  <a:pt x="186057" y="343763"/>
                  <a:pt x="144405" y="385396"/>
                  <a:pt x="93029" y="385396"/>
                </a:cubicBezTo>
                <a:cubicBezTo>
                  <a:pt x="41652" y="385396"/>
                  <a:pt x="0" y="343763"/>
                  <a:pt x="0" y="292411"/>
                </a:cubicBezTo>
                <a:cubicBezTo>
                  <a:pt x="0" y="241059"/>
                  <a:pt x="41652" y="199427"/>
                  <a:pt x="93058" y="199367"/>
                </a:cubicBezTo>
                <a:lnTo>
                  <a:pt x="108458" y="200682"/>
                </a:lnTo>
                <a:lnTo>
                  <a:pt x="111760" y="192668"/>
                </a:lnTo>
                <a:lnTo>
                  <a:pt x="108439" y="184713"/>
                </a:lnTo>
                <a:cubicBezTo>
                  <a:pt x="103801" y="185520"/>
                  <a:pt x="97906" y="185939"/>
                  <a:pt x="93029" y="185939"/>
                </a:cubicBezTo>
                <a:cubicBezTo>
                  <a:pt x="41652" y="185939"/>
                  <a:pt x="0" y="144337"/>
                  <a:pt x="0" y="92984"/>
                </a:cubicBezTo>
                <a:cubicBezTo>
                  <a:pt x="0" y="41632"/>
                  <a:pt x="41652" y="0"/>
                  <a:pt x="9302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731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23114C3-EDAA-984F-A7E5-1E563968A4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41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6609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B6E5172-0EAF-9541-B6B0-E49938BC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198" y="3759716"/>
            <a:ext cx="9366251" cy="622714"/>
          </a:xfrm>
        </p:spPr>
        <p:txBody>
          <a:bodyPr vert="horz" anchor="t"/>
          <a:lstStyle>
            <a:lvl1pPr algn="l"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3B28E96-F998-4145-AFD3-BC0901E289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198" y="5368036"/>
            <a:ext cx="5638800" cy="228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5BCB3DBE-7952-BD46-A5A1-E42AA39DD5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596636"/>
            <a:ext cx="5638800" cy="2245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800" b="0" i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A196062-4E15-E6FF-72DA-92BF926F893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6061" y="6156161"/>
            <a:ext cx="1786364" cy="4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04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1585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75EBB8B-1207-DF46-B0BB-2ECF56904B5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C05AC6-9FBA-434E-BB3D-C7EE786774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5089" y="2635703"/>
            <a:ext cx="8349499" cy="1548385"/>
          </a:xfrm>
        </p:spPr>
        <p:txBody>
          <a:bodyPr vert="horz" anchor="b" anchorCtr="0"/>
          <a:lstStyle>
            <a:lvl1pPr algn="l">
              <a:defRPr sz="5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88294A5-A4D0-A14B-A725-86332813F1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5089" y="4758997"/>
            <a:ext cx="5638800" cy="22453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i="1" dirty="0">
                <a:solidFill>
                  <a:schemeClr val="bg1"/>
                </a:solidFill>
                <a:latin typeface="Elevance Sans Italic" pitchFamily="2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483F015-5D8D-2240-9F46-EE2695B6E5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5089" y="4517136"/>
            <a:ext cx="5638800" cy="2286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B2B735F-56B4-2B65-976E-1B0F307123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996061" y="578755"/>
            <a:ext cx="1785077" cy="463366"/>
          </a:xfrm>
          <a:custGeom>
            <a:avLst/>
            <a:gdLst>
              <a:gd name="connsiteX0" fmla="*/ 609398 w 1785077"/>
              <a:gd name="connsiteY0" fmla="*/ 422691 h 463366"/>
              <a:gd name="connsiteX1" fmla="*/ 609398 w 1785077"/>
              <a:gd name="connsiteY1" fmla="*/ 445690 h 463366"/>
              <a:gd name="connsiteX2" fmla="*/ 628578 w 1785077"/>
              <a:gd name="connsiteY2" fmla="*/ 445690 h 463366"/>
              <a:gd name="connsiteX3" fmla="*/ 628578 w 1785077"/>
              <a:gd name="connsiteY3" fmla="*/ 445720 h 463366"/>
              <a:gd name="connsiteX4" fmla="*/ 642372 w 1785077"/>
              <a:gd name="connsiteY4" fmla="*/ 434206 h 463366"/>
              <a:gd name="connsiteX5" fmla="*/ 628578 w 1785077"/>
              <a:gd name="connsiteY5" fmla="*/ 422691 h 463366"/>
              <a:gd name="connsiteX6" fmla="*/ 1511976 w 1785077"/>
              <a:gd name="connsiteY6" fmla="*/ 407797 h 463366"/>
              <a:gd name="connsiteX7" fmla="*/ 1493932 w 1785077"/>
              <a:gd name="connsiteY7" fmla="*/ 427387 h 463366"/>
              <a:gd name="connsiteX8" fmla="*/ 1511976 w 1785077"/>
              <a:gd name="connsiteY8" fmla="*/ 447126 h 463366"/>
              <a:gd name="connsiteX9" fmla="*/ 1530019 w 1785077"/>
              <a:gd name="connsiteY9" fmla="*/ 427387 h 463366"/>
              <a:gd name="connsiteX10" fmla="*/ 1511976 w 1785077"/>
              <a:gd name="connsiteY10" fmla="*/ 407797 h 463366"/>
              <a:gd name="connsiteX11" fmla="*/ 1181094 w 1785077"/>
              <a:gd name="connsiteY11" fmla="*/ 407797 h 463366"/>
              <a:gd name="connsiteX12" fmla="*/ 1163051 w 1785077"/>
              <a:gd name="connsiteY12" fmla="*/ 427387 h 463366"/>
              <a:gd name="connsiteX13" fmla="*/ 1181094 w 1785077"/>
              <a:gd name="connsiteY13" fmla="*/ 447126 h 463366"/>
              <a:gd name="connsiteX14" fmla="*/ 1199137 w 1785077"/>
              <a:gd name="connsiteY14" fmla="*/ 427387 h 463366"/>
              <a:gd name="connsiteX15" fmla="*/ 1181094 w 1785077"/>
              <a:gd name="connsiteY15" fmla="*/ 407797 h 463366"/>
              <a:gd name="connsiteX16" fmla="*/ 1051680 w 1785077"/>
              <a:gd name="connsiteY16" fmla="*/ 407797 h 463366"/>
              <a:gd name="connsiteX17" fmla="*/ 1033637 w 1785077"/>
              <a:gd name="connsiteY17" fmla="*/ 427387 h 463366"/>
              <a:gd name="connsiteX18" fmla="*/ 1051680 w 1785077"/>
              <a:gd name="connsiteY18" fmla="*/ 447126 h 463366"/>
              <a:gd name="connsiteX19" fmla="*/ 1069723 w 1785077"/>
              <a:gd name="connsiteY19" fmla="*/ 427387 h 463366"/>
              <a:gd name="connsiteX20" fmla="*/ 1051680 w 1785077"/>
              <a:gd name="connsiteY20" fmla="*/ 407797 h 463366"/>
              <a:gd name="connsiteX21" fmla="*/ 859459 w 1785077"/>
              <a:gd name="connsiteY21" fmla="*/ 407797 h 463366"/>
              <a:gd name="connsiteX22" fmla="*/ 841416 w 1785077"/>
              <a:gd name="connsiteY22" fmla="*/ 427387 h 463366"/>
              <a:gd name="connsiteX23" fmla="*/ 859459 w 1785077"/>
              <a:gd name="connsiteY23" fmla="*/ 447126 h 463366"/>
              <a:gd name="connsiteX24" fmla="*/ 877502 w 1785077"/>
              <a:gd name="connsiteY24" fmla="*/ 427387 h 463366"/>
              <a:gd name="connsiteX25" fmla="*/ 859459 w 1785077"/>
              <a:gd name="connsiteY25" fmla="*/ 407797 h 463366"/>
              <a:gd name="connsiteX26" fmla="*/ 1432981 w 1785077"/>
              <a:gd name="connsiteY26" fmla="*/ 406242 h 463366"/>
              <a:gd name="connsiteX27" fmla="*/ 1416643 w 1785077"/>
              <a:gd name="connsiteY27" fmla="*/ 420149 h 463366"/>
              <a:gd name="connsiteX28" fmla="*/ 1449169 w 1785077"/>
              <a:gd name="connsiteY28" fmla="*/ 420149 h 463366"/>
              <a:gd name="connsiteX29" fmla="*/ 1432981 w 1785077"/>
              <a:gd name="connsiteY29" fmla="*/ 406242 h 463366"/>
              <a:gd name="connsiteX30" fmla="*/ 705000 w 1785077"/>
              <a:gd name="connsiteY30" fmla="*/ 406242 h 463366"/>
              <a:gd name="connsiteX31" fmla="*/ 688662 w 1785077"/>
              <a:gd name="connsiteY31" fmla="*/ 420149 h 463366"/>
              <a:gd name="connsiteX32" fmla="*/ 721188 w 1785077"/>
              <a:gd name="connsiteY32" fmla="*/ 420149 h 463366"/>
              <a:gd name="connsiteX33" fmla="*/ 705000 w 1785077"/>
              <a:gd name="connsiteY33" fmla="*/ 406242 h 463366"/>
              <a:gd name="connsiteX34" fmla="*/ 986749 w 1785077"/>
              <a:gd name="connsiteY34" fmla="*/ 393441 h 463366"/>
              <a:gd name="connsiteX35" fmla="*/ 1004074 w 1785077"/>
              <a:gd name="connsiteY35" fmla="*/ 393441 h 463366"/>
              <a:gd name="connsiteX36" fmla="*/ 1004074 w 1785077"/>
              <a:gd name="connsiteY36" fmla="*/ 434654 h 463366"/>
              <a:gd name="connsiteX37" fmla="*/ 1004074 w 1785077"/>
              <a:gd name="connsiteY37" fmla="*/ 461482 h 463366"/>
              <a:gd name="connsiteX38" fmla="*/ 986749 w 1785077"/>
              <a:gd name="connsiteY38" fmla="*/ 461482 h 463366"/>
              <a:gd name="connsiteX39" fmla="*/ 904881 w 1785077"/>
              <a:gd name="connsiteY39" fmla="*/ 393441 h 463366"/>
              <a:gd name="connsiteX40" fmla="*/ 923912 w 1785077"/>
              <a:gd name="connsiteY40" fmla="*/ 393441 h 463366"/>
              <a:gd name="connsiteX41" fmla="*/ 941237 w 1785077"/>
              <a:gd name="connsiteY41" fmla="*/ 445989 h 463366"/>
              <a:gd name="connsiteX42" fmla="*/ 958861 w 1785077"/>
              <a:gd name="connsiteY42" fmla="*/ 393441 h 463366"/>
              <a:gd name="connsiteX43" fmla="*/ 976635 w 1785077"/>
              <a:gd name="connsiteY43" fmla="*/ 393441 h 463366"/>
              <a:gd name="connsiteX44" fmla="*/ 952069 w 1785077"/>
              <a:gd name="connsiteY44" fmla="*/ 461482 h 463366"/>
              <a:gd name="connsiteX45" fmla="*/ 929477 w 1785077"/>
              <a:gd name="connsiteY45" fmla="*/ 461482 h 463366"/>
              <a:gd name="connsiteX46" fmla="*/ 1509133 w 1785077"/>
              <a:gd name="connsiteY46" fmla="*/ 391646 h 463366"/>
              <a:gd name="connsiteX47" fmla="*/ 1530019 w 1785077"/>
              <a:gd name="connsiteY47" fmla="*/ 402443 h 463366"/>
              <a:gd name="connsiteX48" fmla="*/ 1530019 w 1785077"/>
              <a:gd name="connsiteY48" fmla="*/ 393471 h 463366"/>
              <a:gd name="connsiteX49" fmla="*/ 1547344 w 1785077"/>
              <a:gd name="connsiteY49" fmla="*/ 393471 h 463366"/>
              <a:gd name="connsiteX50" fmla="*/ 1547344 w 1785077"/>
              <a:gd name="connsiteY50" fmla="*/ 461512 h 463366"/>
              <a:gd name="connsiteX51" fmla="*/ 1530019 w 1785077"/>
              <a:gd name="connsiteY51" fmla="*/ 461512 h 463366"/>
              <a:gd name="connsiteX52" fmla="*/ 1530019 w 1785077"/>
              <a:gd name="connsiteY52" fmla="*/ 451851 h 463366"/>
              <a:gd name="connsiteX53" fmla="*/ 1509133 w 1785077"/>
              <a:gd name="connsiteY53" fmla="*/ 463366 h 463366"/>
              <a:gd name="connsiteX54" fmla="*/ 1476607 w 1785077"/>
              <a:gd name="connsiteY54" fmla="*/ 427446 h 463366"/>
              <a:gd name="connsiteX55" fmla="*/ 1509133 w 1785077"/>
              <a:gd name="connsiteY55" fmla="*/ 391646 h 463366"/>
              <a:gd name="connsiteX56" fmla="*/ 1432681 w 1785077"/>
              <a:gd name="connsiteY56" fmla="*/ 391646 h 463366"/>
              <a:gd name="connsiteX57" fmla="*/ 1467062 w 1785077"/>
              <a:gd name="connsiteY57" fmla="*/ 426160 h 463366"/>
              <a:gd name="connsiteX58" fmla="*/ 1466673 w 1785077"/>
              <a:gd name="connsiteY58" fmla="*/ 432232 h 463366"/>
              <a:gd name="connsiteX59" fmla="*/ 1416224 w 1785077"/>
              <a:gd name="connsiteY59" fmla="*/ 432232 h 463366"/>
              <a:gd name="connsiteX60" fmla="*/ 1435554 w 1785077"/>
              <a:gd name="connsiteY60" fmla="*/ 448143 h 463366"/>
              <a:gd name="connsiteX61" fmla="*/ 1452310 w 1785077"/>
              <a:gd name="connsiteY61" fmla="*/ 441055 h 463366"/>
              <a:gd name="connsiteX62" fmla="*/ 1461257 w 1785077"/>
              <a:gd name="connsiteY62" fmla="*/ 452988 h 463366"/>
              <a:gd name="connsiteX63" fmla="*/ 1434955 w 1785077"/>
              <a:gd name="connsiteY63" fmla="*/ 463366 h 463366"/>
              <a:gd name="connsiteX64" fmla="*/ 1398450 w 1785077"/>
              <a:gd name="connsiteY64" fmla="*/ 427446 h 463366"/>
              <a:gd name="connsiteX65" fmla="*/ 1432681 w 1785077"/>
              <a:gd name="connsiteY65" fmla="*/ 391646 h 463366"/>
              <a:gd name="connsiteX66" fmla="*/ 1178252 w 1785077"/>
              <a:gd name="connsiteY66" fmla="*/ 391646 h 463366"/>
              <a:gd name="connsiteX67" fmla="*/ 1199137 w 1785077"/>
              <a:gd name="connsiteY67" fmla="*/ 402443 h 463366"/>
              <a:gd name="connsiteX68" fmla="*/ 1199137 w 1785077"/>
              <a:gd name="connsiteY68" fmla="*/ 393471 h 463366"/>
              <a:gd name="connsiteX69" fmla="*/ 1216463 w 1785077"/>
              <a:gd name="connsiteY69" fmla="*/ 393471 h 463366"/>
              <a:gd name="connsiteX70" fmla="*/ 1216463 w 1785077"/>
              <a:gd name="connsiteY70" fmla="*/ 461512 h 463366"/>
              <a:gd name="connsiteX71" fmla="*/ 1199137 w 1785077"/>
              <a:gd name="connsiteY71" fmla="*/ 461512 h 463366"/>
              <a:gd name="connsiteX72" fmla="*/ 1199137 w 1785077"/>
              <a:gd name="connsiteY72" fmla="*/ 451851 h 463366"/>
              <a:gd name="connsiteX73" fmla="*/ 1178252 w 1785077"/>
              <a:gd name="connsiteY73" fmla="*/ 463366 h 463366"/>
              <a:gd name="connsiteX74" fmla="*/ 1145726 w 1785077"/>
              <a:gd name="connsiteY74" fmla="*/ 427446 h 463366"/>
              <a:gd name="connsiteX75" fmla="*/ 1178252 w 1785077"/>
              <a:gd name="connsiteY75" fmla="*/ 391646 h 463366"/>
              <a:gd name="connsiteX76" fmla="*/ 856616 w 1785077"/>
              <a:gd name="connsiteY76" fmla="*/ 391646 h 463366"/>
              <a:gd name="connsiteX77" fmla="*/ 877502 w 1785077"/>
              <a:gd name="connsiteY77" fmla="*/ 402443 h 463366"/>
              <a:gd name="connsiteX78" fmla="*/ 877502 w 1785077"/>
              <a:gd name="connsiteY78" fmla="*/ 393471 h 463366"/>
              <a:gd name="connsiteX79" fmla="*/ 894827 w 1785077"/>
              <a:gd name="connsiteY79" fmla="*/ 393471 h 463366"/>
              <a:gd name="connsiteX80" fmla="*/ 894827 w 1785077"/>
              <a:gd name="connsiteY80" fmla="*/ 461512 h 463366"/>
              <a:gd name="connsiteX81" fmla="*/ 877502 w 1785077"/>
              <a:gd name="connsiteY81" fmla="*/ 461512 h 463366"/>
              <a:gd name="connsiteX82" fmla="*/ 877502 w 1785077"/>
              <a:gd name="connsiteY82" fmla="*/ 451851 h 463366"/>
              <a:gd name="connsiteX83" fmla="*/ 856616 w 1785077"/>
              <a:gd name="connsiteY83" fmla="*/ 463366 h 463366"/>
              <a:gd name="connsiteX84" fmla="*/ 824091 w 1785077"/>
              <a:gd name="connsiteY84" fmla="*/ 427446 h 463366"/>
              <a:gd name="connsiteX85" fmla="*/ 856616 w 1785077"/>
              <a:gd name="connsiteY85" fmla="*/ 391646 h 463366"/>
              <a:gd name="connsiteX86" fmla="*/ 704701 w 1785077"/>
              <a:gd name="connsiteY86" fmla="*/ 391646 h 463366"/>
              <a:gd name="connsiteX87" fmla="*/ 739081 w 1785077"/>
              <a:gd name="connsiteY87" fmla="*/ 426160 h 463366"/>
              <a:gd name="connsiteX88" fmla="*/ 738692 w 1785077"/>
              <a:gd name="connsiteY88" fmla="*/ 432232 h 463366"/>
              <a:gd name="connsiteX89" fmla="*/ 688243 w 1785077"/>
              <a:gd name="connsiteY89" fmla="*/ 432232 h 463366"/>
              <a:gd name="connsiteX90" fmla="*/ 707573 w 1785077"/>
              <a:gd name="connsiteY90" fmla="*/ 448143 h 463366"/>
              <a:gd name="connsiteX91" fmla="*/ 724330 w 1785077"/>
              <a:gd name="connsiteY91" fmla="*/ 441055 h 463366"/>
              <a:gd name="connsiteX92" fmla="*/ 733276 w 1785077"/>
              <a:gd name="connsiteY92" fmla="*/ 452988 h 463366"/>
              <a:gd name="connsiteX93" fmla="*/ 706975 w 1785077"/>
              <a:gd name="connsiteY93" fmla="*/ 463366 h 463366"/>
              <a:gd name="connsiteX94" fmla="*/ 670469 w 1785077"/>
              <a:gd name="connsiteY94" fmla="*/ 427446 h 463366"/>
              <a:gd name="connsiteX95" fmla="*/ 704701 w 1785077"/>
              <a:gd name="connsiteY95" fmla="*/ 391646 h 463366"/>
              <a:gd name="connsiteX96" fmla="*/ 1051680 w 1785077"/>
              <a:gd name="connsiteY96" fmla="*/ 391616 h 463366"/>
              <a:gd name="connsiteX97" fmla="*/ 1087048 w 1785077"/>
              <a:gd name="connsiteY97" fmla="*/ 427417 h 463366"/>
              <a:gd name="connsiteX98" fmla="*/ 1051680 w 1785077"/>
              <a:gd name="connsiteY98" fmla="*/ 463336 h 463366"/>
              <a:gd name="connsiteX99" fmla="*/ 1016312 w 1785077"/>
              <a:gd name="connsiteY99" fmla="*/ 427417 h 463366"/>
              <a:gd name="connsiteX100" fmla="*/ 1051680 w 1785077"/>
              <a:gd name="connsiteY100" fmla="*/ 391616 h 463366"/>
              <a:gd name="connsiteX101" fmla="*/ 1133219 w 1785077"/>
              <a:gd name="connsiteY101" fmla="*/ 391587 h 463366"/>
              <a:gd name="connsiteX102" fmla="*/ 1144020 w 1785077"/>
              <a:gd name="connsiteY102" fmla="*/ 394876 h 463366"/>
              <a:gd name="connsiteX103" fmla="*/ 1136929 w 1785077"/>
              <a:gd name="connsiteY103" fmla="*/ 411206 h 463366"/>
              <a:gd name="connsiteX104" fmla="*/ 1127833 w 1785077"/>
              <a:gd name="connsiteY104" fmla="*/ 408365 h 463366"/>
              <a:gd name="connsiteX105" fmla="*/ 1116462 w 1785077"/>
              <a:gd name="connsiteY105" fmla="*/ 423409 h 463366"/>
              <a:gd name="connsiteX106" fmla="*/ 1116462 w 1785077"/>
              <a:gd name="connsiteY106" fmla="*/ 461482 h 463366"/>
              <a:gd name="connsiteX107" fmla="*/ 1099137 w 1785077"/>
              <a:gd name="connsiteY107" fmla="*/ 461482 h 463366"/>
              <a:gd name="connsiteX108" fmla="*/ 1099137 w 1785077"/>
              <a:gd name="connsiteY108" fmla="*/ 393441 h 463366"/>
              <a:gd name="connsiteX109" fmla="*/ 1116462 w 1785077"/>
              <a:gd name="connsiteY109" fmla="*/ 393441 h 463366"/>
              <a:gd name="connsiteX110" fmla="*/ 1116462 w 1785077"/>
              <a:gd name="connsiteY110" fmla="*/ 403520 h 463366"/>
              <a:gd name="connsiteX111" fmla="*/ 1133219 w 1785077"/>
              <a:gd name="connsiteY111" fmla="*/ 391587 h 463366"/>
              <a:gd name="connsiteX112" fmla="*/ 609398 w 1785077"/>
              <a:gd name="connsiteY112" fmla="*/ 386173 h 463366"/>
              <a:gd name="connsiteX113" fmla="*/ 609398 w 1785077"/>
              <a:gd name="connsiteY113" fmla="*/ 386203 h 463366"/>
              <a:gd name="connsiteX114" fmla="*/ 609398 w 1785077"/>
              <a:gd name="connsiteY114" fmla="*/ 408066 h 463366"/>
              <a:gd name="connsiteX115" fmla="*/ 626603 w 1785077"/>
              <a:gd name="connsiteY115" fmla="*/ 408066 h 463366"/>
              <a:gd name="connsiteX116" fmla="*/ 639829 w 1785077"/>
              <a:gd name="connsiteY116" fmla="*/ 397120 h 463366"/>
              <a:gd name="connsiteX117" fmla="*/ 626603 w 1785077"/>
              <a:gd name="connsiteY117" fmla="*/ 386173 h 463366"/>
              <a:gd name="connsiteX118" fmla="*/ 1608595 w 1785077"/>
              <a:gd name="connsiteY118" fmla="*/ 375855 h 463366"/>
              <a:gd name="connsiteX119" fmla="*/ 1626069 w 1785077"/>
              <a:gd name="connsiteY119" fmla="*/ 375855 h 463366"/>
              <a:gd name="connsiteX120" fmla="*/ 1626069 w 1785077"/>
              <a:gd name="connsiteY120" fmla="*/ 393471 h 463366"/>
              <a:gd name="connsiteX121" fmla="*/ 1644412 w 1785077"/>
              <a:gd name="connsiteY121" fmla="*/ 393471 h 463366"/>
              <a:gd name="connsiteX122" fmla="*/ 1644412 w 1785077"/>
              <a:gd name="connsiteY122" fmla="*/ 408814 h 463366"/>
              <a:gd name="connsiteX123" fmla="*/ 1626219 w 1785077"/>
              <a:gd name="connsiteY123" fmla="*/ 408814 h 463366"/>
              <a:gd name="connsiteX124" fmla="*/ 1626219 w 1785077"/>
              <a:gd name="connsiteY124" fmla="*/ 437795 h 463366"/>
              <a:gd name="connsiteX125" fmla="*/ 1633879 w 1785077"/>
              <a:gd name="connsiteY125" fmla="*/ 447156 h 463366"/>
              <a:gd name="connsiteX126" fmla="*/ 1641988 w 1785077"/>
              <a:gd name="connsiteY126" fmla="*/ 443746 h 463366"/>
              <a:gd name="connsiteX127" fmla="*/ 1649648 w 1785077"/>
              <a:gd name="connsiteY127" fmla="*/ 456667 h 463366"/>
              <a:gd name="connsiteX128" fmla="*/ 1631186 w 1785077"/>
              <a:gd name="connsiteY128" fmla="*/ 463336 h 463366"/>
              <a:gd name="connsiteX129" fmla="*/ 1608595 w 1785077"/>
              <a:gd name="connsiteY129" fmla="*/ 438213 h 463366"/>
              <a:gd name="connsiteX130" fmla="*/ 1608595 w 1785077"/>
              <a:gd name="connsiteY130" fmla="*/ 408814 h 463366"/>
              <a:gd name="connsiteX131" fmla="*/ 1596656 w 1785077"/>
              <a:gd name="connsiteY131" fmla="*/ 408814 h 463366"/>
              <a:gd name="connsiteX132" fmla="*/ 1596656 w 1785077"/>
              <a:gd name="connsiteY132" fmla="*/ 393471 h 463366"/>
              <a:gd name="connsiteX133" fmla="*/ 1608595 w 1785077"/>
              <a:gd name="connsiteY133" fmla="*/ 393471 h 463366"/>
              <a:gd name="connsiteX134" fmla="*/ 591654 w 1785077"/>
              <a:gd name="connsiteY134" fmla="*/ 370591 h 463366"/>
              <a:gd name="connsiteX135" fmla="*/ 591804 w 1785077"/>
              <a:gd name="connsiteY135" fmla="*/ 370591 h 463366"/>
              <a:gd name="connsiteX136" fmla="*/ 609428 w 1785077"/>
              <a:gd name="connsiteY136" fmla="*/ 370591 h 463366"/>
              <a:gd name="connsiteX137" fmla="*/ 628339 w 1785077"/>
              <a:gd name="connsiteY137" fmla="*/ 370591 h 463366"/>
              <a:gd name="connsiteX138" fmla="*/ 658321 w 1785077"/>
              <a:gd name="connsiteY138" fmla="*/ 395714 h 463366"/>
              <a:gd name="connsiteX139" fmla="*/ 644826 w 1785077"/>
              <a:gd name="connsiteY139" fmla="*/ 414735 h 463366"/>
              <a:gd name="connsiteX140" fmla="*/ 660834 w 1785077"/>
              <a:gd name="connsiteY140" fmla="*/ 435910 h 463366"/>
              <a:gd name="connsiteX141" fmla="*/ 630433 w 1785077"/>
              <a:gd name="connsiteY141" fmla="*/ 461482 h 463366"/>
              <a:gd name="connsiteX142" fmla="*/ 591654 w 1785077"/>
              <a:gd name="connsiteY142" fmla="*/ 461482 h 463366"/>
              <a:gd name="connsiteX143" fmla="*/ 1306678 w 1785077"/>
              <a:gd name="connsiteY143" fmla="*/ 370442 h 463366"/>
              <a:gd name="connsiteX144" fmla="*/ 1324452 w 1785077"/>
              <a:gd name="connsiteY144" fmla="*/ 370442 h 463366"/>
              <a:gd name="connsiteX145" fmla="*/ 1324452 w 1785077"/>
              <a:gd name="connsiteY145" fmla="*/ 406660 h 463366"/>
              <a:gd name="connsiteX146" fmla="*/ 1367929 w 1785077"/>
              <a:gd name="connsiteY146" fmla="*/ 406660 h 463366"/>
              <a:gd name="connsiteX147" fmla="*/ 1367929 w 1785077"/>
              <a:gd name="connsiteY147" fmla="*/ 370442 h 463366"/>
              <a:gd name="connsiteX148" fmla="*/ 1385703 w 1785077"/>
              <a:gd name="connsiteY148" fmla="*/ 370442 h 463366"/>
              <a:gd name="connsiteX149" fmla="*/ 1385703 w 1785077"/>
              <a:gd name="connsiteY149" fmla="*/ 461482 h 463366"/>
              <a:gd name="connsiteX150" fmla="*/ 1367929 w 1785077"/>
              <a:gd name="connsiteY150" fmla="*/ 461482 h 463366"/>
              <a:gd name="connsiteX151" fmla="*/ 1367929 w 1785077"/>
              <a:gd name="connsiteY151" fmla="*/ 423289 h 463366"/>
              <a:gd name="connsiteX152" fmla="*/ 1324452 w 1785077"/>
              <a:gd name="connsiteY152" fmla="*/ 423289 h 463366"/>
              <a:gd name="connsiteX153" fmla="*/ 1324452 w 1785077"/>
              <a:gd name="connsiteY153" fmla="*/ 461482 h 463366"/>
              <a:gd name="connsiteX154" fmla="*/ 1306678 w 1785077"/>
              <a:gd name="connsiteY154" fmla="*/ 461482 h 463366"/>
              <a:gd name="connsiteX155" fmla="*/ 995426 w 1785077"/>
              <a:gd name="connsiteY155" fmla="*/ 364071 h 463366"/>
              <a:gd name="connsiteX156" fmla="*/ 1005660 w 1785077"/>
              <a:gd name="connsiteY156" fmla="*/ 374150 h 463366"/>
              <a:gd name="connsiteX157" fmla="*/ 995426 w 1785077"/>
              <a:gd name="connsiteY157" fmla="*/ 384379 h 463366"/>
              <a:gd name="connsiteX158" fmla="*/ 985342 w 1785077"/>
              <a:gd name="connsiteY158" fmla="*/ 374150 h 463366"/>
              <a:gd name="connsiteX159" fmla="*/ 995426 w 1785077"/>
              <a:gd name="connsiteY159" fmla="*/ 364071 h 463366"/>
              <a:gd name="connsiteX160" fmla="*/ 1563831 w 1785077"/>
              <a:gd name="connsiteY160" fmla="*/ 363802 h 463366"/>
              <a:gd name="connsiteX161" fmla="*/ 1581156 w 1785077"/>
              <a:gd name="connsiteY161" fmla="*/ 363802 h 463366"/>
              <a:gd name="connsiteX162" fmla="*/ 1581156 w 1785077"/>
              <a:gd name="connsiteY162" fmla="*/ 439918 h 463366"/>
              <a:gd name="connsiteX163" fmla="*/ 1587260 w 1785077"/>
              <a:gd name="connsiteY163" fmla="*/ 447156 h 463366"/>
              <a:gd name="connsiteX164" fmla="*/ 1590103 w 1785077"/>
              <a:gd name="connsiteY164" fmla="*/ 446438 h 463366"/>
              <a:gd name="connsiteX165" fmla="*/ 1591958 w 1785077"/>
              <a:gd name="connsiteY165" fmla="*/ 461631 h 463366"/>
              <a:gd name="connsiteX166" fmla="*/ 1583580 w 1785077"/>
              <a:gd name="connsiteY166" fmla="*/ 463067 h 463366"/>
              <a:gd name="connsiteX167" fmla="*/ 1563831 w 1785077"/>
              <a:gd name="connsiteY167" fmla="*/ 439499 h 463366"/>
              <a:gd name="connsiteX168" fmla="*/ 1232950 w 1785077"/>
              <a:gd name="connsiteY168" fmla="*/ 363802 h 463366"/>
              <a:gd name="connsiteX169" fmla="*/ 1250275 w 1785077"/>
              <a:gd name="connsiteY169" fmla="*/ 363802 h 463366"/>
              <a:gd name="connsiteX170" fmla="*/ 1250275 w 1785077"/>
              <a:gd name="connsiteY170" fmla="*/ 439918 h 463366"/>
              <a:gd name="connsiteX171" fmla="*/ 1256379 w 1785077"/>
              <a:gd name="connsiteY171" fmla="*/ 447156 h 463366"/>
              <a:gd name="connsiteX172" fmla="*/ 1259222 w 1785077"/>
              <a:gd name="connsiteY172" fmla="*/ 446438 h 463366"/>
              <a:gd name="connsiteX173" fmla="*/ 1261077 w 1785077"/>
              <a:gd name="connsiteY173" fmla="*/ 461631 h 463366"/>
              <a:gd name="connsiteX174" fmla="*/ 1252698 w 1785077"/>
              <a:gd name="connsiteY174" fmla="*/ 463067 h 463366"/>
              <a:gd name="connsiteX175" fmla="*/ 1232950 w 1785077"/>
              <a:gd name="connsiteY175" fmla="*/ 439499 h 463366"/>
              <a:gd name="connsiteX176" fmla="*/ 1661168 w 1785077"/>
              <a:gd name="connsiteY176" fmla="*/ 363772 h 463366"/>
              <a:gd name="connsiteX177" fmla="*/ 1678494 w 1785077"/>
              <a:gd name="connsiteY177" fmla="*/ 363772 h 463366"/>
              <a:gd name="connsiteX178" fmla="*/ 1678494 w 1785077"/>
              <a:gd name="connsiteY178" fmla="*/ 403101 h 463366"/>
              <a:gd name="connsiteX179" fmla="*/ 1697823 w 1785077"/>
              <a:gd name="connsiteY179" fmla="*/ 391587 h 463366"/>
              <a:gd name="connsiteX180" fmla="*/ 1723527 w 1785077"/>
              <a:gd name="connsiteY180" fmla="*/ 420298 h 463366"/>
              <a:gd name="connsiteX181" fmla="*/ 1723527 w 1785077"/>
              <a:gd name="connsiteY181" fmla="*/ 461482 h 463366"/>
              <a:gd name="connsiteX182" fmla="*/ 1706202 w 1785077"/>
              <a:gd name="connsiteY182" fmla="*/ 461482 h 463366"/>
              <a:gd name="connsiteX183" fmla="*/ 1706202 w 1785077"/>
              <a:gd name="connsiteY183" fmla="*/ 422841 h 463366"/>
              <a:gd name="connsiteX184" fmla="*/ 1692407 w 1785077"/>
              <a:gd name="connsiteY184" fmla="*/ 407797 h 463366"/>
              <a:gd name="connsiteX185" fmla="*/ 1678494 w 1785077"/>
              <a:gd name="connsiteY185" fmla="*/ 422841 h 463366"/>
              <a:gd name="connsiteX186" fmla="*/ 1678494 w 1785077"/>
              <a:gd name="connsiteY186" fmla="*/ 461482 h 463366"/>
              <a:gd name="connsiteX187" fmla="*/ 1661168 w 1785077"/>
              <a:gd name="connsiteY187" fmla="*/ 461482 h 463366"/>
              <a:gd name="connsiteX188" fmla="*/ 750213 w 1785077"/>
              <a:gd name="connsiteY188" fmla="*/ 363772 h 463366"/>
              <a:gd name="connsiteX189" fmla="*/ 767538 w 1785077"/>
              <a:gd name="connsiteY189" fmla="*/ 363772 h 463366"/>
              <a:gd name="connsiteX190" fmla="*/ 767538 w 1785077"/>
              <a:gd name="connsiteY190" fmla="*/ 403101 h 463366"/>
              <a:gd name="connsiteX191" fmla="*/ 786867 w 1785077"/>
              <a:gd name="connsiteY191" fmla="*/ 391587 h 463366"/>
              <a:gd name="connsiteX192" fmla="*/ 812571 w 1785077"/>
              <a:gd name="connsiteY192" fmla="*/ 420298 h 463366"/>
              <a:gd name="connsiteX193" fmla="*/ 812571 w 1785077"/>
              <a:gd name="connsiteY193" fmla="*/ 461482 h 463366"/>
              <a:gd name="connsiteX194" fmla="*/ 795246 w 1785077"/>
              <a:gd name="connsiteY194" fmla="*/ 461482 h 463366"/>
              <a:gd name="connsiteX195" fmla="*/ 795246 w 1785077"/>
              <a:gd name="connsiteY195" fmla="*/ 422841 h 463366"/>
              <a:gd name="connsiteX196" fmla="*/ 781451 w 1785077"/>
              <a:gd name="connsiteY196" fmla="*/ 407797 h 463366"/>
              <a:gd name="connsiteX197" fmla="*/ 767538 w 1785077"/>
              <a:gd name="connsiteY197" fmla="*/ 422841 h 463366"/>
              <a:gd name="connsiteX198" fmla="*/ 767538 w 1785077"/>
              <a:gd name="connsiteY198" fmla="*/ 461482 h 463366"/>
              <a:gd name="connsiteX199" fmla="*/ 750213 w 1785077"/>
              <a:gd name="connsiteY199" fmla="*/ 461482 h 463366"/>
              <a:gd name="connsiteX200" fmla="*/ 1760720 w 1785077"/>
              <a:gd name="connsiteY200" fmla="*/ 269382 h 463366"/>
              <a:gd name="connsiteX201" fmla="*/ 1764580 w 1785077"/>
              <a:gd name="connsiteY201" fmla="*/ 269382 h 463366"/>
              <a:gd name="connsiteX202" fmla="*/ 1773138 w 1785077"/>
              <a:gd name="connsiteY202" fmla="*/ 282960 h 463366"/>
              <a:gd name="connsiteX203" fmla="*/ 1781666 w 1785077"/>
              <a:gd name="connsiteY203" fmla="*/ 269382 h 463366"/>
              <a:gd name="connsiteX204" fmla="*/ 1785077 w 1785077"/>
              <a:gd name="connsiteY204" fmla="*/ 269382 h 463366"/>
              <a:gd name="connsiteX205" fmla="*/ 1785077 w 1785077"/>
              <a:gd name="connsiteY205" fmla="*/ 293099 h 463366"/>
              <a:gd name="connsiteX206" fmla="*/ 1781756 w 1785077"/>
              <a:gd name="connsiteY206" fmla="*/ 293099 h 463366"/>
              <a:gd name="connsiteX207" fmla="*/ 1781756 w 1785077"/>
              <a:gd name="connsiteY207" fmla="*/ 274705 h 463366"/>
              <a:gd name="connsiteX208" fmla="*/ 1772929 w 1785077"/>
              <a:gd name="connsiteY208" fmla="*/ 288433 h 463366"/>
              <a:gd name="connsiteX209" fmla="*/ 1764042 w 1785077"/>
              <a:gd name="connsiteY209" fmla="*/ 274705 h 463366"/>
              <a:gd name="connsiteX210" fmla="*/ 1764042 w 1785077"/>
              <a:gd name="connsiteY210" fmla="*/ 293099 h 463366"/>
              <a:gd name="connsiteX211" fmla="*/ 1760720 w 1785077"/>
              <a:gd name="connsiteY211" fmla="*/ 293099 h 463366"/>
              <a:gd name="connsiteX212" fmla="*/ 1748452 w 1785077"/>
              <a:gd name="connsiteY212" fmla="*/ 268963 h 463366"/>
              <a:gd name="connsiteX213" fmla="*/ 1756591 w 1785077"/>
              <a:gd name="connsiteY213" fmla="*/ 272642 h 463366"/>
              <a:gd name="connsiteX214" fmla="*/ 1754287 w 1785077"/>
              <a:gd name="connsiteY214" fmla="*/ 274885 h 463366"/>
              <a:gd name="connsiteX215" fmla="*/ 1748392 w 1785077"/>
              <a:gd name="connsiteY215" fmla="*/ 272073 h 463366"/>
              <a:gd name="connsiteX216" fmla="*/ 1743754 w 1785077"/>
              <a:gd name="connsiteY216" fmla="*/ 275274 h 463366"/>
              <a:gd name="connsiteX217" fmla="*/ 1757010 w 1785077"/>
              <a:gd name="connsiteY217" fmla="*/ 286549 h 463366"/>
              <a:gd name="connsiteX218" fmla="*/ 1748303 w 1785077"/>
              <a:gd name="connsiteY218" fmla="*/ 293547 h 463366"/>
              <a:gd name="connsiteX219" fmla="*/ 1739326 w 1785077"/>
              <a:gd name="connsiteY219" fmla="*/ 289510 h 463366"/>
              <a:gd name="connsiteX220" fmla="*/ 1741720 w 1785077"/>
              <a:gd name="connsiteY220" fmla="*/ 287267 h 463366"/>
              <a:gd name="connsiteX221" fmla="*/ 1748303 w 1785077"/>
              <a:gd name="connsiteY221" fmla="*/ 290407 h 463366"/>
              <a:gd name="connsiteX222" fmla="*/ 1753419 w 1785077"/>
              <a:gd name="connsiteY222" fmla="*/ 286788 h 463366"/>
              <a:gd name="connsiteX223" fmla="*/ 1740164 w 1785077"/>
              <a:gd name="connsiteY223" fmla="*/ 275393 h 463366"/>
              <a:gd name="connsiteX224" fmla="*/ 1748452 w 1785077"/>
              <a:gd name="connsiteY224" fmla="*/ 268963 h 463366"/>
              <a:gd name="connsiteX225" fmla="*/ 1411587 w 1785077"/>
              <a:gd name="connsiteY225" fmla="*/ 134646 h 463366"/>
              <a:gd name="connsiteX226" fmla="*/ 1357906 w 1785077"/>
              <a:gd name="connsiteY226" fmla="*/ 192488 h 463366"/>
              <a:gd name="connsiteX227" fmla="*/ 1411587 w 1785077"/>
              <a:gd name="connsiteY227" fmla="*/ 250749 h 463366"/>
              <a:gd name="connsiteX228" fmla="*/ 1464429 w 1785077"/>
              <a:gd name="connsiteY228" fmla="*/ 192488 h 463366"/>
              <a:gd name="connsiteX229" fmla="*/ 1411587 w 1785077"/>
              <a:gd name="connsiteY229" fmla="*/ 134646 h 463366"/>
              <a:gd name="connsiteX230" fmla="*/ 742014 w 1785077"/>
              <a:gd name="connsiteY230" fmla="*/ 134646 h 463366"/>
              <a:gd name="connsiteX231" fmla="*/ 688334 w 1785077"/>
              <a:gd name="connsiteY231" fmla="*/ 192488 h 463366"/>
              <a:gd name="connsiteX232" fmla="*/ 742014 w 1785077"/>
              <a:gd name="connsiteY232" fmla="*/ 250749 h 463366"/>
              <a:gd name="connsiteX233" fmla="*/ 794857 w 1785077"/>
              <a:gd name="connsiteY233" fmla="*/ 192488 h 463366"/>
              <a:gd name="connsiteX234" fmla="*/ 742014 w 1785077"/>
              <a:gd name="connsiteY234" fmla="*/ 134646 h 463366"/>
              <a:gd name="connsiteX235" fmla="*/ 1110987 w 1785077"/>
              <a:gd name="connsiteY235" fmla="*/ 130070 h 463366"/>
              <a:gd name="connsiteX236" fmla="*/ 1061914 w 1785077"/>
              <a:gd name="connsiteY236" fmla="*/ 173227 h 463366"/>
              <a:gd name="connsiteX237" fmla="*/ 1158773 w 1785077"/>
              <a:gd name="connsiteY237" fmla="*/ 173227 h 463366"/>
              <a:gd name="connsiteX238" fmla="*/ 1110987 w 1785077"/>
              <a:gd name="connsiteY238" fmla="*/ 130070 h 463366"/>
              <a:gd name="connsiteX239" fmla="*/ 733636 w 1785077"/>
              <a:gd name="connsiteY239" fmla="*/ 86494 h 463366"/>
              <a:gd name="connsiteX240" fmla="*/ 794857 w 1785077"/>
              <a:gd name="connsiteY240" fmla="*/ 112484 h 463366"/>
              <a:gd name="connsiteX241" fmla="*/ 794857 w 1785077"/>
              <a:gd name="connsiteY241" fmla="*/ 92356 h 463366"/>
              <a:gd name="connsiteX242" fmla="*/ 846443 w 1785077"/>
              <a:gd name="connsiteY242" fmla="*/ 92356 h 463366"/>
              <a:gd name="connsiteX243" fmla="*/ 846443 w 1785077"/>
              <a:gd name="connsiteY243" fmla="*/ 293099 h 463366"/>
              <a:gd name="connsiteX244" fmla="*/ 794857 w 1785077"/>
              <a:gd name="connsiteY244" fmla="*/ 293099 h 463366"/>
              <a:gd name="connsiteX245" fmla="*/ 794857 w 1785077"/>
              <a:gd name="connsiteY245" fmla="*/ 271296 h 463366"/>
              <a:gd name="connsiteX246" fmla="*/ 733636 w 1785077"/>
              <a:gd name="connsiteY246" fmla="*/ 298961 h 463366"/>
              <a:gd name="connsiteX247" fmla="*/ 637196 w 1785077"/>
              <a:gd name="connsiteY247" fmla="*/ 192937 h 463366"/>
              <a:gd name="connsiteX248" fmla="*/ 733636 w 1785077"/>
              <a:gd name="connsiteY248" fmla="*/ 86494 h 463366"/>
              <a:gd name="connsiteX249" fmla="*/ 555628 w 1785077"/>
              <a:gd name="connsiteY249" fmla="*/ 86494 h 463366"/>
              <a:gd name="connsiteX250" fmla="*/ 634862 w 1785077"/>
              <a:gd name="connsiteY250" fmla="*/ 116671 h 463366"/>
              <a:gd name="connsiteX251" fmla="*/ 605509 w 1785077"/>
              <a:gd name="connsiteY251" fmla="*/ 153129 h 463366"/>
              <a:gd name="connsiteX252" fmla="*/ 558141 w 1785077"/>
              <a:gd name="connsiteY252" fmla="*/ 134676 h 463366"/>
              <a:gd name="connsiteX253" fmla="*/ 501947 w 1785077"/>
              <a:gd name="connsiteY253" fmla="*/ 192518 h 463366"/>
              <a:gd name="connsiteX254" fmla="*/ 557723 w 1785077"/>
              <a:gd name="connsiteY254" fmla="*/ 250779 h 463366"/>
              <a:gd name="connsiteX255" fmla="*/ 607184 w 1785077"/>
              <a:gd name="connsiteY255" fmla="*/ 231070 h 463366"/>
              <a:gd name="connsiteX256" fmla="*/ 633187 w 1785077"/>
              <a:gd name="connsiteY256" fmla="*/ 268784 h 463366"/>
              <a:gd name="connsiteX257" fmla="*/ 556466 w 1785077"/>
              <a:gd name="connsiteY257" fmla="*/ 298961 h 463366"/>
              <a:gd name="connsiteX258" fmla="*/ 450810 w 1785077"/>
              <a:gd name="connsiteY258" fmla="*/ 192937 h 463366"/>
              <a:gd name="connsiteX259" fmla="*/ 555628 w 1785077"/>
              <a:gd name="connsiteY259" fmla="*/ 86494 h 463366"/>
              <a:gd name="connsiteX260" fmla="*/ 1647225 w 1785077"/>
              <a:gd name="connsiteY260" fmla="*/ 86464 h 463366"/>
              <a:gd name="connsiteX261" fmla="*/ 1723527 w 1785077"/>
              <a:gd name="connsiteY261" fmla="*/ 171553 h 463366"/>
              <a:gd name="connsiteX262" fmla="*/ 1723527 w 1785077"/>
              <a:gd name="connsiteY262" fmla="*/ 293099 h 463366"/>
              <a:gd name="connsiteX263" fmla="*/ 1672360 w 1785077"/>
              <a:gd name="connsiteY263" fmla="*/ 293099 h 463366"/>
              <a:gd name="connsiteX264" fmla="*/ 1672360 w 1785077"/>
              <a:gd name="connsiteY264" fmla="*/ 179089 h 463366"/>
              <a:gd name="connsiteX265" fmla="*/ 1631695 w 1785077"/>
              <a:gd name="connsiteY265" fmla="*/ 134676 h 463366"/>
              <a:gd name="connsiteX266" fmla="*/ 1590612 w 1785077"/>
              <a:gd name="connsiteY266" fmla="*/ 179089 h 463366"/>
              <a:gd name="connsiteX267" fmla="*/ 1590612 w 1785077"/>
              <a:gd name="connsiteY267" fmla="*/ 293069 h 463366"/>
              <a:gd name="connsiteX268" fmla="*/ 1539445 w 1785077"/>
              <a:gd name="connsiteY268" fmla="*/ 293069 h 463366"/>
              <a:gd name="connsiteX269" fmla="*/ 1539445 w 1785077"/>
              <a:gd name="connsiteY269" fmla="*/ 92326 h 463366"/>
              <a:gd name="connsiteX270" fmla="*/ 1590612 w 1785077"/>
              <a:gd name="connsiteY270" fmla="*/ 92326 h 463366"/>
              <a:gd name="connsiteX271" fmla="*/ 1590612 w 1785077"/>
              <a:gd name="connsiteY271" fmla="*/ 112035 h 463366"/>
              <a:gd name="connsiteX272" fmla="*/ 1647225 w 1785077"/>
              <a:gd name="connsiteY272" fmla="*/ 86464 h 463366"/>
              <a:gd name="connsiteX273" fmla="*/ 1411168 w 1785077"/>
              <a:gd name="connsiteY273" fmla="*/ 86464 h 463366"/>
              <a:gd name="connsiteX274" fmla="*/ 1515986 w 1785077"/>
              <a:gd name="connsiteY274" fmla="*/ 192907 h 463366"/>
              <a:gd name="connsiteX275" fmla="*/ 1411168 w 1785077"/>
              <a:gd name="connsiteY275" fmla="*/ 298931 h 463366"/>
              <a:gd name="connsiteX276" fmla="*/ 1306769 w 1785077"/>
              <a:gd name="connsiteY276" fmla="*/ 192907 h 463366"/>
              <a:gd name="connsiteX277" fmla="*/ 1411168 w 1785077"/>
              <a:gd name="connsiteY277" fmla="*/ 86464 h 463366"/>
              <a:gd name="connsiteX278" fmla="*/ 1110119 w 1785077"/>
              <a:gd name="connsiteY278" fmla="*/ 86464 h 463366"/>
              <a:gd name="connsiteX279" fmla="*/ 1211167 w 1785077"/>
              <a:gd name="connsiteY279" fmla="*/ 188720 h 463366"/>
              <a:gd name="connsiteX280" fmla="*/ 1209910 w 1785077"/>
              <a:gd name="connsiteY280" fmla="*/ 205468 h 463366"/>
              <a:gd name="connsiteX281" fmla="*/ 1061046 w 1785077"/>
              <a:gd name="connsiteY281" fmla="*/ 205468 h 463366"/>
              <a:gd name="connsiteX282" fmla="*/ 1118497 w 1785077"/>
              <a:gd name="connsiteY282" fmla="*/ 253680 h 463366"/>
              <a:gd name="connsiteX283" fmla="*/ 1167570 w 1785077"/>
              <a:gd name="connsiteY283" fmla="*/ 232715 h 463366"/>
              <a:gd name="connsiteX284" fmla="*/ 1193991 w 1785077"/>
              <a:gd name="connsiteY284" fmla="*/ 267498 h 463366"/>
              <a:gd name="connsiteX285" fmla="*/ 1116433 w 1785077"/>
              <a:gd name="connsiteY285" fmla="*/ 298931 h 463366"/>
              <a:gd name="connsiteX286" fmla="*/ 1008652 w 1785077"/>
              <a:gd name="connsiteY286" fmla="*/ 192907 h 463366"/>
              <a:gd name="connsiteX287" fmla="*/ 1110119 w 1785077"/>
              <a:gd name="connsiteY287" fmla="*/ 86464 h 463366"/>
              <a:gd name="connsiteX288" fmla="*/ 983518 w 1785077"/>
              <a:gd name="connsiteY288" fmla="*/ 86464 h 463366"/>
              <a:gd name="connsiteX289" fmla="*/ 1015804 w 1785077"/>
              <a:gd name="connsiteY289" fmla="*/ 96513 h 463366"/>
              <a:gd name="connsiteX290" fmla="*/ 994409 w 1785077"/>
              <a:gd name="connsiteY290" fmla="*/ 145144 h 463366"/>
              <a:gd name="connsiteX291" fmla="*/ 967988 w 1785077"/>
              <a:gd name="connsiteY291" fmla="*/ 136351 h 463366"/>
              <a:gd name="connsiteX292" fmla="*/ 934445 w 1785077"/>
              <a:gd name="connsiteY292" fmla="*/ 180764 h 463366"/>
              <a:gd name="connsiteX293" fmla="*/ 934445 w 1785077"/>
              <a:gd name="connsiteY293" fmla="*/ 293069 h 463366"/>
              <a:gd name="connsiteX294" fmla="*/ 883278 w 1785077"/>
              <a:gd name="connsiteY294" fmla="*/ 293069 h 463366"/>
              <a:gd name="connsiteX295" fmla="*/ 883278 w 1785077"/>
              <a:gd name="connsiteY295" fmla="*/ 92326 h 463366"/>
              <a:gd name="connsiteX296" fmla="*/ 934445 w 1785077"/>
              <a:gd name="connsiteY296" fmla="*/ 92326 h 463366"/>
              <a:gd name="connsiteX297" fmla="*/ 934445 w 1785077"/>
              <a:gd name="connsiteY297" fmla="*/ 114129 h 463366"/>
              <a:gd name="connsiteX298" fmla="*/ 983518 w 1785077"/>
              <a:gd name="connsiteY298" fmla="*/ 86464 h 463366"/>
              <a:gd name="connsiteX299" fmla="*/ 289840 w 1785077"/>
              <a:gd name="connsiteY299" fmla="*/ 38556 h 463366"/>
              <a:gd name="connsiteX300" fmla="*/ 241383 w 1785077"/>
              <a:gd name="connsiteY300" fmla="*/ 74352 h 463366"/>
              <a:gd name="connsiteX301" fmla="*/ 247637 w 1785077"/>
              <a:gd name="connsiteY301" fmla="*/ 123760 h 463366"/>
              <a:gd name="connsiteX302" fmla="*/ 192849 w 1785077"/>
              <a:gd name="connsiteY302" fmla="*/ 146131 h 463366"/>
              <a:gd name="connsiteX303" fmla="*/ 138151 w 1785077"/>
              <a:gd name="connsiteY303" fmla="*/ 123610 h 463366"/>
              <a:gd name="connsiteX304" fmla="*/ 144285 w 1785077"/>
              <a:gd name="connsiteY304" fmla="*/ 111587 h 463366"/>
              <a:gd name="connsiteX305" fmla="*/ 147574 w 1785077"/>
              <a:gd name="connsiteY305" fmla="*/ 93063 h 463366"/>
              <a:gd name="connsiteX306" fmla="*/ 137965 w 1785077"/>
              <a:gd name="connsiteY306" fmla="*/ 62101 h 463366"/>
              <a:gd name="connsiteX307" fmla="*/ 111700 w 1785077"/>
              <a:gd name="connsiteY307" fmla="*/ 41782 h 463366"/>
              <a:gd name="connsiteX308" fmla="*/ 90289 w 1785077"/>
              <a:gd name="connsiteY308" fmla="*/ 38556 h 463366"/>
              <a:gd name="connsiteX309" fmla="*/ 41831 w 1785077"/>
              <a:gd name="connsiteY309" fmla="*/ 74352 h 463366"/>
              <a:gd name="connsiteX310" fmla="*/ 74417 w 1785077"/>
              <a:gd name="connsiteY310" fmla="*/ 144187 h 463366"/>
              <a:gd name="connsiteX311" fmla="*/ 123849 w 1785077"/>
              <a:gd name="connsiteY311" fmla="*/ 137936 h 463366"/>
              <a:gd name="connsiteX312" fmla="*/ 146231 w 1785077"/>
              <a:gd name="connsiteY312" fmla="*/ 192668 h 463366"/>
              <a:gd name="connsiteX313" fmla="*/ 123699 w 1785077"/>
              <a:gd name="connsiteY313" fmla="*/ 247340 h 463366"/>
              <a:gd name="connsiteX314" fmla="*/ 111670 w 1785077"/>
              <a:gd name="connsiteY314" fmla="*/ 241209 h 463366"/>
              <a:gd name="connsiteX315" fmla="*/ 93118 w 1785077"/>
              <a:gd name="connsiteY315" fmla="*/ 237919 h 463366"/>
              <a:gd name="connsiteX316" fmla="*/ 93128 w 1785077"/>
              <a:gd name="connsiteY316" fmla="*/ 237895 h 463366"/>
              <a:gd name="connsiteX317" fmla="*/ 62160 w 1785077"/>
              <a:gd name="connsiteY317" fmla="*/ 247497 h 463366"/>
              <a:gd name="connsiteX318" fmla="*/ 41831 w 1785077"/>
              <a:gd name="connsiteY318" fmla="*/ 273749 h 463366"/>
              <a:gd name="connsiteX319" fmla="*/ 74417 w 1785077"/>
              <a:gd name="connsiteY319" fmla="*/ 343584 h 463366"/>
              <a:gd name="connsiteX320" fmla="*/ 144286 w 1785077"/>
              <a:gd name="connsiteY320" fmla="*/ 311014 h 463366"/>
              <a:gd name="connsiteX321" fmla="*/ 138032 w 1785077"/>
              <a:gd name="connsiteY321" fmla="*/ 261606 h 463366"/>
              <a:gd name="connsiteX322" fmla="*/ 192820 w 1785077"/>
              <a:gd name="connsiteY322" fmla="*/ 239235 h 463366"/>
              <a:gd name="connsiteX323" fmla="*/ 247458 w 1785077"/>
              <a:gd name="connsiteY323" fmla="*/ 261785 h 463366"/>
              <a:gd name="connsiteX324" fmla="*/ 241324 w 1785077"/>
              <a:gd name="connsiteY324" fmla="*/ 273808 h 463366"/>
              <a:gd name="connsiteX325" fmla="*/ 238035 w 1785077"/>
              <a:gd name="connsiteY325" fmla="*/ 292332 h 463366"/>
              <a:gd name="connsiteX326" fmla="*/ 247644 w 1785077"/>
              <a:gd name="connsiteY326" fmla="*/ 323295 h 463366"/>
              <a:gd name="connsiteX327" fmla="*/ 273909 w 1785077"/>
              <a:gd name="connsiteY327" fmla="*/ 343614 h 463366"/>
              <a:gd name="connsiteX328" fmla="*/ 343778 w 1785077"/>
              <a:gd name="connsiteY328" fmla="*/ 311044 h 463366"/>
              <a:gd name="connsiteX329" fmla="*/ 311192 w 1785077"/>
              <a:gd name="connsiteY329" fmla="*/ 241208 h 463366"/>
              <a:gd name="connsiteX330" fmla="*/ 261760 w 1785077"/>
              <a:gd name="connsiteY330" fmla="*/ 247459 h 463366"/>
              <a:gd name="connsiteX331" fmla="*/ 239379 w 1785077"/>
              <a:gd name="connsiteY331" fmla="*/ 192697 h 463366"/>
              <a:gd name="connsiteX332" fmla="*/ 261940 w 1785077"/>
              <a:gd name="connsiteY332" fmla="*/ 138115 h 463366"/>
              <a:gd name="connsiteX333" fmla="*/ 273969 w 1785077"/>
              <a:gd name="connsiteY333" fmla="*/ 144246 h 463366"/>
              <a:gd name="connsiteX334" fmla="*/ 292497 w 1785077"/>
              <a:gd name="connsiteY334" fmla="*/ 147532 h 463366"/>
              <a:gd name="connsiteX335" fmla="*/ 292520 w 1785077"/>
              <a:gd name="connsiteY335" fmla="*/ 147477 h 463366"/>
              <a:gd name="connsiteX336" fmla="*/ 343837 w 1785077"/>
              <a:gd name="connsiteY336" fmla="*/ 111617 h 463366"/>
              <a:gd name="connsiteX337" fmla="*/ 311252 w 1785077"/>
              <a:gd name="connsiteY337" fmla="*/ 41782 h 463366"/>
              <a:gd name="connsiteX338" fmla="*/ 289840 w 1785077"/>
              <a:gd name="connsiteY338" fmla="*/ 38556 h 463366"/>
              <a:gd name="connsiteX339" fmla="*/ 1232142 w 1785077"/>
              <a:gd name="connsiteY339" fmla="*/ 4755 h 463366"/>
              <a:gd name="connsiteX340" fmla="*/ 1283310 w 1785077"/>
              <a:gd name="connsiteY340" fmla="*/ 4755 h 463366"/>
              <a:gd name="connsiteX341" fmla="*/ 1283310 w 1785077"/>
              <a:gd name="connsiteY341" fmla="*/ 293099 h 463366"/>
              <a:gd name="connsiteX342" fmla="*/ 1232142 w 1785077"/>
              <a:gd name="connsiteY342" fmla="*/ 293099 h 463366"/>
              <a:gd name="connsiteX343" fmla="*/ 1232142 w 1785077"/>
              <a:gd name="connsiteY343" fmla="*/ 156868 h 463366"/>
              <a:gd name="connsiteX344" fmla="*/ 93029 w 1785077"/>
              <a:gd name="connsiteY344" fmla="*/ 0 h 463366"/>
              <a:gd name="connsiteX345" fmla="*/ 186087 w 1785077"/>
              <a:gd name="connsiteY345" fmla="*/ 92984 h 463366"/>
              <a:gd name="connsiteX346" fmla="*/ 184801 w 1785077"/>
              <a:gd name="connsiteY346" fmla="*/ 108375 h 463366"/>
              <a:gd name="connsiteX347" fmla="*/ 192819 w 1785077"/>
              <a:gd name="connsiteY347" fmla="*/ 111677 h 463366"/>
              <a:gd name="connsiteX348" fmla="*/ 200808 w 1785077"/>
              <a:gd name="connsiteY348" fmla="*/ 108387 h 463366"/>
              <a:gd name="connsiteX349" fmla="*/ 199552 w 1785077"/>
              <a:gd name="connsiteY349" fmla="*/ 92984 h 463366"/>
              <a:gd name="connsiteX350" fmla="*/ 292580 w 1785077"/>
              <a:gd name="connsiteY350" fmla="*/ 0 h 463366"/>
              <a:gd name="connsiteX351" fmla="*/ 385609 w 1785077"/>
              <a:gd name="connsiteY351" fmla="*/ 92984 h 463366"/>
              <a:gd name="connsiteX352" fmla="*/ 292580 w 1785077"/>
              <a:gd name="connsiteY352" fmla="*/ 185969 h 463366"/>
              <a:gd name="connsiteX353" fmla="*/ 277196 w 1785077"/>
              <a:gd name="connsiteY353" fmla="*/ 184685 h 463366"/>
              <a:gd name="connsiteX354" fmla="*/ 273879 w 1785077"/>
              <a:gd name="connsiteY354" fmla="*/ 192727 h 463366"/>
              <a:gd name="connsiteX355" fmla="*/ 277170 w 1785077"/>
              <a:gd name="connsiteY355" fmla="*/ 200713 h 463366"/>
              <a:gd name="connsiteX356" fmla="*/ 292580 w 1785077"/>
              <a:gd name="connsiteY356" fmla="*/ 199427 h 463366"/>
              <a:gd name="connsiteX357" fmla="*/ 385579 w 1785077"/>
              <a:gd name="connsiteY357" fmla="*/ 292411 h 463366"/>
              <a:gd name="connsiteX358" fmla="*/ 292551 w 1785077"/>
              <a:gd name="connsiteY358" fmla="*/ 385395 h 463366"/>
              <a:gd name="connsiteX359" fmla="*/ 199522 w 1785077"/>
              <a:gd name="connsiteY359" fmla="*/ 292411 h 463366"/>
              <a:gd name="connsiteX360" fmla="*/ 200808 w 1785077"/>
              <a:gd name="connsiteY360" fmla="*/ 277021 h 463366"/>
              <a:gd name="connsiteX361" fmla="*/ 192790 w 1785077"/>
              <a:gd name="connsiteY361" fmla="*/ 273719 h 463366"/>
              <a:gd name="connsiteX362" fmla="*/ 184770 w 1785077"/>
              <a:gd name="connsiteY362" fmla="*/ 277009 h 463366"/>
              <a:gd name="connsiteX363" fmla="*/ 186057 w 1785077"/>
              <a:gd name="connsiteY363" fmla="*/ 292411 h 463366"/>
              <a:gd name="connsiteX364" fmla="*/ 93029 w 1785077"/>
              <a:gd name="connsiteY364" fmla="*/ 385396 h 463366"/>
              <a:gd name="connsiteX365" fmla="*/ 0 w 1785077"/>
              <a:gd name="connsiteY365" fmla="*/ 292411 h 463366"/>
              <a:gd name="connsiteX366" fmla="*/ 93058 w 1785077"/>
              <a:gd name="connsiteY366" fmla="*/ 199367 h 463366"/>
              <a:gd name="connsiteX367" fmla="*/ 108458 w 1785077"/>
              <a:gd name="connsiteY367" fmla="*/ 200682 h 463366"/>
              <a:gd name="connsiteX368" fmla="*/ 111760 w 1785077"/>
              <a:gd name="connsiteY368" fmla="*/ 192668 h 463366"/>
              <a:gd name="connsiteX369" fmla="*/ 108439 w 1785077"/>
              <a:gd name="connsiteY369" fmla="*/ 184713 h 463366"/>
              <a:gd name="connsiteX370" fmla="*/ 93029 w 1785077"/>
              <a:gd name="connsiteY370" fmla="*/ 185939 h 463366"/>
              <a:gd name="connsiteX371" fmla="*/ 0 w 1785077"/>
              <a:gd name="connsiteY371" fmla="*/ 92984 h 463366"/>
              <a:gd name="connsiteX372" fmla="*/ 93029 w 1785077"/>
              <a:gd name="connsiteY372" fmla="*/ 0 h 463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</a:cxnLst>
            <a:rect l="l" t="t" r="r" b="b"/>
            <a:pathLst>
              <a:path w="1785077" h="463366">
                <a:moveTo>
                  <a:pt x="609398" y="422691"/>
                </a:moveTo>
                <a:lnTo>
                  <a:pt x="609398" y="445690"/>
                </a:lnTo>
                <a:lnTo>
                  <a:pt x="628578" y="445690"/>
                </a:lnTo>
                <a:lnTo>
                  <a:pt x="628578" y="445720"/>
                </a:lnTo>
                <a:cubicBezTo>
                  <a:pt x="636538" y="445720"/>
                  <a:pt x="642372" y="440905"/>
                  <a:pt x="642372" y="434206"/>
                </a:cubicBezTo>
                <a:cubicBezTo>
                  <a:pt x="642372" y="427506"/>
                  <a:pt x="636538" y="422691"/>
                  <a:pt x="628578" y="422691"/>
                </a:cubicBezTo>
                <a:close/>
                <a:moveTo>
                  <a:pt x="1511976" y="407797"/>
                </a:moveTo>
                <a:cubicBezTo>
                  <a:pt x="1501473" y="407797"/>
                  <a:pt x="1493932" y="416470"/>
                  <a:pt x="1493932" y="427387"/>
                </a:cubicBezTo>
                <a:cubicBezTo>
                  <a:pt x="1493932" y="438303"/>
                  <a:pt x="1501473" y="447126"/>
                  <a:pt x="1511976" y="447126"/>
                </a:cubicBezTo>
                <a:cubicBezTo>
                  <a:pt x="1522508" y="447156"/>
                  <a:pt x="1530019" y="438333"/>
                  <a:pt x="1530019" y="427387"/>
                </a:cubicBezTo>
                <a:cubicBezTo>
                  <a:pt x="1530019" y="416440"/>
                  <a:pt x="1522478" y="407797"/>
                  <a:pt x="1511976" y="407797"/>
                </a:cubicBezTo>
                <a:close/>
                <a:moveTo>
                  <a:pt x="1181094" y="407797"/>
                </a:moveTo>
                <a:cubicBezTo>
                  <a:pt x="1170592" y="407797"/>
                  <a:pt x="1163051" y="416470"/>
                  <a:pt x="1163051" y="427387"/>
                </a:cubicBezTo>
                <a:cubicBezTo>
                  <a:pt x="1163051" y="438303"/>
                  <a:pt x="1170592" y="447126"/>
                  <a:pt x="1181094" y="447126"/>
                </a:cubicBezTo>
                <a:cubicBezTo>
                  <a:pt x="1191627" y="447156"/>
                  <a:pt x="1199137" y="438333"/>
                  <a:pt x="1199137" y="427387"/>
                </a:cubicBezTo>
                <a:cubicBezTo>
                  <a:pt x="1199137" y="416440"/>
                  <a:pt x="1191597" y="407797"/>
                  <a:pt x="1181094" y="407797"/>
                </a:cubicBezTo>
                <a:close/>
                <a:moveTo>
                  <a:pt x="1051680" y="407797"/>
                </a:moveTo>
                <a:cubicBezTo>
                  <a:pt x="1041177" y="407797"/>
                  <a:pt x="1033637" y="416470"/>
                  <a:pt x="1033637" y="427387"/>
                </a:cubicBezTo>
                <a:cubicBezTo>
                  <a:pt x="1033637" y="438303"/>
                  <a:pt x="1041177" y="447126"/>
                  <a:pt x="1051680" y="447126"/>
                </a:cubicBezTo>
                <a:cubicBezTo>
                  <a:pt x="1062183" y="447126"/>
                  <a:pt x="1069723" y="438333"/>
                  <a:pt x="1069723" y="427387"/>
                </a:cubicBezTo>
                <a:cubicBezTo>
                  <a:pt x="1069723" y="416440"/>
                  <a:pt x="1062183" y="407797"/>
                  <a:pt x="1051680" y="407797"/>
                </a:cubicBezTo>
                <a:close/>
                <a:moveTo>
                  <a:pt x="859459" y="407797"/>
                </a:moveTo>
                <a:cubicBezTo>
                  <a:pt x="848956" y="407797"/>
                  <a:pt x="841416" y="416470"/>
                  <a:pt x="841416" y="427387"/>
                </a:cubicBezTo>
                <a:cubicBezTo>
                  <a:pt x="841416" y="438303"/>
                  <a:pt x="848956" y="447126"/>
                  <a:pt x="859459" y="447126"/>
                </a:cubicBezTo>
                <a:cubicBezTo>
                  <a:pt x="869962" y="447156"/>
                  <a:pt x="877502" y="438333"/>
                  <a:pt x="877502" y="427387"/>
                </a:cubicBezTo>
                <a:cubicBezTo>
                  <a:pt x="877502" y="416440"/>
                  <a:pt x="869962" y="407797"/>
                  <a:pt x="859459" y="407797"/>
                </a:cubicBezTo>
                <a:close/>
                <a:moveTo>
                  <a:pt x="1432981" y="406242"/>
                </a:moveTo>
                <a:cubicBezTo>
                  <a:pt x="1424752" y="406242"/>
                  <a:pt x="1418797" y="411924"/>
                  <a:pt x="1416643" y="420149"/>
                </a:cubicBezTo>
                <a:lnTo>
                  <a:pt x="1449169" y="420149"/>
                </a:lnTo>
                <a:cubicBezTo>
                  <a:pt x="1447044" y="411057"/>
                  <a:pt x="1440940" y="406242"/>
                  <a:pt x="1432981" y="406242"/>
                </a:cubicBezTo>
                <a:close/>
                <a:moveTo>
                  <a:pt x="705000" y="406242"/>
                </a:moveTo>
                <a:cubicBezTo>
                  <a:pt x="696771" y="406242"/>
                  <a:pt x="690817" y="411924"/>
                  <a:pt x="688662" y="420149"/>
                </a:cubicBezTo>
                <a:lnTo>
                  <a:pt x="721188" y="420149"/>
                </a:lnTo>
                <a:cubicBezTo>
                  <a:pt x="719063" y="411057"/>
                  <a:pt x="712959" y="406242"/>
                  <a:pt x="705000" y="406242"/>
                </a:cubicBezTo>
                <a:close/>
                <a:moveTo>
                  <a:pt x="986749" y="393441"/>
                </a:moveTo>
                <a:lnTo>
                  <a:pt x="1004074" y="393441"/>
                </a:lnTo>
                <a:lnTo>
                  <a:pt x="1004074" y="434654"/>
                </a:lnTo>
                <a:lnTo>
                  <a:pt x="1004074" y="461482"/>
                </a:lnTo>
                <a:lnTo>
                  <a:pt x="986749" y="461482"/>
                </a:lnTo>
                <a:close/>
                <a:moveTo>
                  <a:pt x="904881" y="393441"/>
                </a:moveTo>
                <a:lnTo>
                  <a:pt x="923912" y="393441"/>
                </a:lnTo>
                <a:lnTo>
                  <a:pt x="941237" y="445989"/>
                </a:lnTo>
                <a:lnTo>
                  <a:pt x="958861" y="393441"/>
                </a:lnTo>
                <a:lnTo>
                  <a:pt x="976635" y="393441"/>
                </a:lnTo>
                <a:lnTo>
                  <a:pt x="952069" y="461482"/>
                </a:lnTo>
                <a:lnTo>
                  <a:pt x="929477" y="461482"/>
                </a:lnTo>
                <a:close/>
                <a:moveTo>
                  <a:pt x="1509133" y="391646"/>
                </a:moveTo>
                <a:cubicBezTo>
                  <a:pt x="1518379" y="391646"/>
                  <a:pt x="1525471" y="395774"/>
                  <a:pt x="1530019" y="402443"/>
                </a:cubicBezTo>
                <a:lnTo>
                  <a:pt x="1530019" y="393471"/>
                </a:lnTo>
                <a:lnTo>
                  <a:pt x="1547344" y="393471"/>
                </a:lnTo>
                <a:lnTo>
                  <a:pt x="1547344" y="461512"/>
                </a:lnTo>
                <a:lnTo>
                  <a:pt x="1530019" y="461512"/>
                </a:lnTo>
                <a:lnTo>
                  <a:pt x="1530019" y="451851"/>
                </a:lnTo>
                <a:cubicBezTo>
                  <a:pt x="1525471" y="458820"/>
                  <a:pt x="1518379" y="463366"/>
                  <a:pt x="1509133" y="463366"/>
                </a:cubicBezTo>
                <a:cubicBezTo>
                  <a:pt x="1491239" y="463366"/>
                  <a:pt x="1476607" y="448741"/>
                  <a:pt x="1476607" y="427446"/>
                </a:cubicBezTo>
                <a:cubicBezTo>
                  <a:pt x="1476607" y="406989"/>
                  <a:pt x="1490402" y="391646"/>
                  <a:pt x="1509133" y="391646"/>
                </a:cubicBezTo>
                <a:close/>
                <a:moveTo>
                  <a:pt x="1432681" y="391646"/>
                </a:moveTo>
                <a:cubicBezTo>
                  <a:pt x="1452161" y="391646"/>
                  <a:pt x="1467062" y="406571"/>
                  <a:pt x="1467062" y="426160"/>
                </a:cubicBezTo>
                <a:cubicBezTo>
                  <a:pt x="1467092" y="428403"/>
                  <a:pt x="1466942" y="431095"/>
                  <a:pt x="1466673" y="432232"/>
                </a:cubicBezTo>
                <a:lnTo>
                  <a:pt x="1416224" y="432232"/>
                </a:lnTo>
                <a:cubicBezTo>
                  <a:pt x="1418079" y="441593"/>
                  <a:pt x="1425171" y="448143"/>
                  <a:pt x="1435554" y="448143"/>
                </a:cubicBezTo>
                <a:cubicBezTo>
                  <a:pt x="1442526" y="448143"/>
                  <a:pt x="1448331" y="445152"/>
                  <a:pt x="1452310" y="441055"/>
                </a:cubicBezTo>
                <a:lnTo>
                  <a:pt x="1461257" y="452988"/>
                </a:lnTo>
                <a:cubicBezTo>
                  <a:pt x="1455991" y="458820"/>
                  <a:pt x="1446326" y="463366"/>
                  <a:pt x="1434955" y="463366"/>
                </a:cubicBezTo>
                <a:cubicBezTo>
                  <a:pt x="1413771" y="463366"/>
                  <a:pt x="1398450" y="447305"/>
                  <a:pt x="1398450" y="427446"/>
                </a:cubicBezTo>
                <a:cubicBezTo>
                  <a:pt x="1398450" y="407707"/>
                  <a:pt x="1413082" y="391646"/>
                  <a:pt x="1432681" y="391646"/>
                </a:cubicBezTo>
                <a:close/>
                <a:moveTo>
                  <a:pt x="1178252" y="391646"/>
                </a:moveTo>
                <a:cubicBezTo>
                  <a:pt x="1187498" y="391646"/>
                  <a:pt x="1194589" y="395774"/>
                  <a:pt x="1199137" y="402443"/>
                </a:cubicBezTo>
                <a:lnTo>
                  <a:pt x="1199137" y="393471"/>
                </a:lnTo>
                <a:lnTo>
                  <a:pt x="1216463" y="393471"/>
                </a:lnTo>
                <a:lnTo>
                  <a:pt x="1216463" y="461512"/>
                </a:lnTo>
                <a:lnTo>
                  <a:pt x="1199137" y="461512"/>
                </a:lnTo>
                <a:lnTo>
                  <a:pt x="1199137" y="451851"/>
                </a:lnTo>
                <a:cubicBezTo>
                  <a:pt x="1194589" y="458820"/>
                  <a:pt x="1187498" y="463366"/>
                  <a:pt x="1178252" y="463366"/>
                </a:cubicBezTo>
                <a:cubicBezTo>
                  <a:pt x="1160358" y="463366"/>
                  <a:pt x="1145726" y="448741"/>
                  <a:pt x="1145726" y="427446"/>
                </a:cubicBezTo>
                <a:cubicBezTo>
                  <a:pt x="1145726" y="406989"/>
                  <a:pt x="1159520" y="391646"/>
                  <a:pt x="1178252" y="391646"/>
                </a:cubicBezTo>
                <a:close/>
                <a:moveTo>
                  <a:pt x="856616" y="391646"/>
                </a:moveTo>
                <a:cubicBezTo>
                  <a:pt x="865862" y="391646"/>
                  <a:pt x="872954" y="395774"/>
                  <a:pt x="877502" y="402443"/>
                </a:cubicBezTo>
                <a:lnTo>
                  <a:pt x="877502" y="393471"/>
                </a:lnTo>
                <a:lnTo>
                  <a:pt x="894827" y="393471"/>
                </a:lnTo>
                <a:lnTo>
                  <a:pt x="894827" y="461512"/>
                </a:lnTo>
                <a:lnTo>
                  <a:pt x="877502" y="461512"/>
                </a:lnTo>
                <a:lnTo>
                  <a:pt x="877502" y="451851"/>
                </a:lnTo>
                <a:cubicBezTo>
                  <a:pt x="872954" y="458820"/>
                  <a:pt x="865862" y="463366"/>
                  <a:pt x="856616" y="463366"/>
                </a:cubicBezTo>
                <a:cubicBezTo>
                  <a:pt x="838723" y="463366"/>
                  <a:pt x="824091" y="448741"/>
                  <a:pt x="824091" y="427446"/>
                </a:cubicBezTo>
                <a:cubicBezTo>
                  <a:pt x="824091" y="406989"/>
                  <a:pt x="837885" y="391646"/>
                  <a:pt x="856616" y="391646"/>
                </a:cubicBezTo>
                <a:close/>
                <a:moveTo>
                  <a:pt x="704701" y="391646"/>
                </a:moveTo>
                <a:cubicBezTo>
                  <a:pt x="724180" y="391646"/>
                  <a:pt x="739081" y="406571"/>
                  <a:pt x="739081" y="426160"/>
                </a:cubicBezTo>
                <a:cubicBezTo>
                  <a:pt x="739111" y="428403"/>
                  <a:pt x="738962" y="431095"/>
                  <a:pt x="738692" y="432232"/>
                </a:cubicBezTo>
                <a:lnTo>
                  <a:pt x="688243" y="432232"/>
                </a:lnTo>
                <a:cubicBezTo>
                  <a:pt x="690099" y="441593"/>
                  <a:pt x="697190" y="448143"/>
                  <a:pt x="707573" y="448143"/>
                </a:cubicBezTo>
                <a:cubicBezTo>
                  <a:pt x="714545" y="448143"/>
                  <a:pt x="720350" y="445152"/>
                  <a:pt x="724330" y="441055"/>
                </a:cubicBezTo>
                <a:lnTo>
                  <a:pt x="733276" y="452988"/>
                </a:lnTo>
                <a:cubicBezTo>
                  <a:pt x="728010" y="458820"/>
                  <a:pt x="718345" y="463366"/>
                  <a:pt x="706975" y="463366"/>
                </a:cubicBezTo>
                <a:cubicBezTo>
                  <a:pt x="685790" y="463366"/>
                  <a:pt x="670469" y="447305"/>
                  <a:pt x="670469" y="427446"/>
                </a:cubicBezTo>
                <a:cubicBezTo>
                  <a:pt x="670469" y="407707"/>
                  <a:pt x="685102" y="391646"/>
                  <a:pt x="704701" y="391646"/>
                </a:cubicBezTo>
                <a:close/>
                <a:moveTo>
                  <a:pt x="1051680" y="391616"/>
                </a:moveTo>
                <a:cubicBezTo>
                  <a:pt x="1071429" y="391616"/>
                  <a:pt x="1087048" y="407677"/>
                  <a:pt x="1087048" y="427417"/>
                </a:cubicBezTo>
                <a:cubicBezTo>
                  <a:pt x="1087048" y="447305"/>
                  <a:pt x="1071429" y="463336"/>
                  <a:pt x="1051680" y="463336"/>
                </a:cubicBezTo>
                <a:cubicBezTo>
                  <a:pt x="1031931" y="463336"/>
                  <a:pt x="1016312" y="447276"/>
                  <a:pt x="1016312" y="427417"/>
                </a:cubicBezTo>
                <a:cubicBezTo>
                  <a:pt x="1016312" y="407647"/>
                  <a:pt x="1031931" y="391616"/>
                  <a:pt x="1051680" y="391616"/>
                </a:cubicBezTo>
                <a:close/>
                <a:moveTo>
                  <a:pt x="1133219" y="391587"/>
                </a:moveTo>
                <a:cubicBezTo>
                  <a:pt x="1137767" y="391616"/>
                  <a:pt x="1141477" y="392753"/>
                  <a:pt x="1144020" y="394876"/>
                </a:cubicBezTo>
                <a:lnTo>
                  <a:pt x="1136929" y="411206"/>
                </a:lnTo>
                <a:cubicBezTo>
                  <a:pt x="1134655" y="409502"/>
                  <a:pt x="1131244" y="408365"/>
                  <a:pt x="1127833" y="408365"/>
                </a:cubicBezTo>
                <a:cubicBezTo>
                  <a:pt x="1121010" y="408365"/>
                  <a:pt x="1116462" y="414197"/>
                  <a:pt x="1116462" y="423409"/>
                </a:cubicBezTo>
                <a:lnTo>
                  <a:pt x="1116462" y="461482"/>
                </a:lnTo>
                <a:lnTo>
                  <a:pt x="1099137" y="461482"/>
                </a:lnTo>
                <a:lnTo>
                  <a:pt x="1099137" y="393441"/>
                </a:lnTo>
                <a:lnTo>
                  <a:pt x="1116462" y="393441"/>
                </a:lnTo>
                <a:lnTo>
                  <a:pt x="1116462" y="403520"/>
                </a:lnTo>
                <a:cubicBezTo>
                  <a:pt x="1119724" y="396282"/>
                  <a:pt x="1125558" y="391587"/>
                  <a:pt x="1133219" y="391587"/>
                </a:cubicBezTo>
                <a:close/>
                <a:moveTo>
                  <a:pt x="609398" y="386173"/>
                </a:moveTo>
                <a:lnTo>
                  <a:pt x="609398" y="386203"/>
                </a:lnTo>
                <a:lnTo>
                  <a:pt x="609398" y="408066"/>
                </a:lnTo>
                <a:lnTo>
                  <a:pt x="626603" y="408066"/>
                </a:lnTo>
                <a:cubicBezTo>
                  <a:pt x="634413" y="408066"/>
                  <a:pt x="639829" y="403520"/>
                  <a:pt x="639829" y="397120"/>
                </a:cubicBezTo>
                <a:cubicBezTo>
                  <a:pt x="639829" y="390719"/>
                  <a:pt x="634293" y="386173"/>
                  <a:pt x="626603" y="386173"/>
                </a:cubicBezTo>
                <a:close/>
                <a:moveTo>
                  <a:pt x="1608595" y="375855"/>
                </a:moveTo>
                <a:lnTo>
                  <a:pt x="1626069" y="375855"/>
                </a:lnTo>
                <a:lnTo>
                  <a:pt x="1626069" y="393471"/>
                </a:lnTo>
                <a:lnTo>
                  <a:pt x="1644412" y="393471"/>
                </a:lnTo>
                <a:lnTo>
                  <a:pt x="1644412" y="408814"/>
                </a:lnTo>
                <a:lnTo>
                  <a:pt x="1626219" y="408814"/>
                </a:lnTo>
                <a:lnTo>
                  <a:pt x="1626219" y="437795"/>
                </a:lnTo>
                <a:cubicBezTo>
                  <a:pt x="1626219" y="444195"/>
                  <a:pt x="1628763" y="447156"/>
                  <a:pt x="1633879" y="447156"/>
                </a:cubicBezTo>
                <a:cubicBezTo>
                  <a:pt x="1637141" y="447156"/>
                  <a:pt x="1640283" y="445720"/>
                  <a:pt x="1641988" y="443746"/>
                </a:cubicBezTo>
                <a:lnTo>
                  <a:pt x="1649648" y="456667"/>
                </a:lnTo>
                <a:cubicBezTo>
                  <a:pt x="1645968" y="460345"/>
                  <a:pt x="1639564" y="463336"/>
                  <a:pt x="1631186" y="463336"/>
                </a:cubicBezTo>
                <a:cubicBezTo>
                  <a:pt x="1617392" y="463336"/>
                  <a:pt x="1608595" y="454812"/>
                  <a:pt x="1608595" y="438213"/>
                </a:cubicBezTo>
                <a:lnTo>
                  <a:pt x="1608595" y="408814"/>
                </a:lnTo>
                <a:lnTo>
                  <a:pt x="1596656" y="408814"/>
                </a:lnTo>
                <a:lnTo>
                  <a:pt x="1596656" y="393471"/>
                </a:lnTo>
                <a:lnTo>
                  <a:pt x="1608595" y="393471"/>
                </a:lnTo>
                <a:close/>
                <a:moveTo>
                  <a:pt x="591654" y="370591"/>
                </a:moveTo>
                <a:lnTo>
                  <a:pt x="591804" y="370591"/>
                </a:lnTo>
                <a:cubicBezTo>
                  <a:pt x="592103" y="370591"/>
                  <a:pt x="609428" y="370591"/>
                  <a:pt x="609428" y="370591"/>
                </a:cubicBezTo>
                <a:lnTo>
                  <a:pt x="628339" y="370591"/>
                </a:lnTo>
                <a:cubicBezTo>
                  <a:pt x="645395" y="370591"/>
                  <a:pt x="658321" y="380969"/>
                  <a:pt x="658321" y="395714"/>
                </a:cubicBezTo>
                <a:cubicBezTo>
                  <a:pt x="658321" y="406361"/>
                  <a:pt x="650930" y="412193"/>
                  <a:pt x="644826" y="414735"/>
                </a:cubicBezTo>
                <a:cubicBezTo>
                  <a:pt x="653743" y="417457"/>
                  <a:pt x="660834" y="424545"/>
                  <a:pt x="660834" y="435910"/>
                </a:cubicBezTo>
                <a:cubicBezTo>
                  <a:pt x="660834" y="449549"/>
                  <a:pt x="650182" y="461482"/>
                  <a:pt x="630433" y="461482"/>
                </a:cubicBezTo>
                <a:lnTo>
                  <a:pt x="591654" y="461482"/>
                </a:lnTo>
                <a:close/>
                <a:moveTo>
                  <a:pt x="1306678" y="370442"/>
                </a:moveTo>
                <a:lnTo>
                  <a:pt x="1324452" y="370442"/>
                </a:lnTo>
                <a:lnTo>
                  <a:pt x="1324452" y="406660"/>
                </a:lnTo>
                <a:lnTo>
                  <a:pt x="1367929" y="406660"/>
                </a:lnTo>
                <a:lnTo>
                  <a:pt x="1367929" y="370442"/>
                </a:lnTo>
                <a:lnTo>
                  <a:pt x="1385703" y="370442"/>
                </a:lnTo>
                <a:lnTo>
                  <a:pt x="1385703" y="461482"/>
                </a:lnTo>
                <a:lnTo>
                  <a:pt x="1367929" y="461482"/>
                </a:lnTo>
                <a:lnTo>
                  <a:pt x="1367929" y="423289"/>
                </a:lnTo>
                <a:lnTo>
                  <a:pt x="1324452" y="423289"/>
                </a:lnTo>
                <a:lnTo>
                  <a:pt x="1324452" y="461482"/>
                </a:lnTo>
                <a:lnTo>
                  <a:pt x="1306678" y="461482"/>
                </a:lnTo>
                <a:close/>
                <a:moveTo>
                  <a:pt x="995426" y="364071"/>
                </a:moveTo>
                <a:cubicBezTo>
                  <a:pt x="1000962" y="364071"/>
                  <a:pt x="1005660" y="368617"/>
                  <a:pt x="1005660" y="374150"/>
                </a:cubicBezTo>
                <a:cubicBezTo>
                  <a:pt x="1005660" y="379833"/>
                  <a:pt x="1000962" y="384379"/>
                  <a:pt x="995426" y="384379"/>
                </a:cubicBezTo>
                <a:cubicBezTo>
                  <a:pt x="989741" y="384379"/>
                  <a:pt x="985342" y="379833"/>
                  <a:pt x="985342" y="374150"/>
                </a:cubicBezTo>
                <a:cubicBezTo>
                  <a:pt x="985342" y="368617"/>
                  <a:pt x="989741" y="364071"/>
                  <a:pt x="995426" y="364071"/>
                </a:cubicBezTo>
                <a:close/>
                <a:moveTo>
                  <a:pt x="1563831" y="363802"/>
                </a:moveTo>
                <a:lnTo>
                  <a:pt x="1581156" y="363802"/>
                </a:lnTo>
                <a:lnTo>
                  <a:pt x="1581156" y="439918"/>
                </a:lnTo>
                <a:cubicBezTo>
                  <a:pt x="1581156" y="445182"/>
                  <a:pt x="1584148" y="447156"/>
                  <a:pt x="1587260" y="447156"/>
                </a:cubicBezTo>
                <a:cubicBezTo>
                  <a:pt x="1588128" y="447156"/>
                  <a:pt x="1589265" y="446857"/>
                  <a:pt x="1590103" y="446438"/>
                </a:cubicBezTo>
                <a:lnTo>
                  <a:pt x="1591958" y="461631"/>
                </a:lnTo>
                <a:cubicBezTo>
                  <a:pt x="1589415" y="462499"/>
                  <a:pt x="1586123" y="463067"/>
                  <a:pt x="1583580" y="463067"/>
                </a:cubicBezTo>
                <a:cubicBezTo>
                  <a:pt x="1573765" y="463067"/>
                  <a:pt x="1563831" y="456816"/>
                  <a:pt x="1563831" y="439499"/>
                </a:cubicBezTo>
                <a:close/>
                <a:moveTo>
                  <a:pt x="1232950" y="363802"/>
                </a:moveTo>
                <a:lnTo>
                  <a:pt x="1250275" y="363802"/>
                </a:lnTo>
                <a:lnTo>
                  <a:pt x="1250275" y="439918"/>
                </a:lnTo>
                <a:cubicBezTo>
                  <a:pt x="1250275" y="445182"/>
                  <a:pt x="1253267" y="447156"/>
                  <a:pt x="1256379" y="447156"/>
                </a:cubicBezTo>
                <a:cubicBezTo>
                  <a:pt x="1257247" y="447156"/>
                  <a:pt x="1258384" y="446857"/>
                  <a:pt x="1259222" y="446438"/>
                </a:cubicBezTo>
                <a:lnTo>
                  <a:pt x="1261077" y="461631"/>
                </a:lnTo>
                <a:cubicBezTo>
                  <a:pt x="1258533" y="462499"/>
                  <a:pt x="1255242" y="463067"/>
                  <a:pt x="1252698" y="463067"/>
                </a:cubicBezTo>
                <a:cubicBezTo>
                  <a:pt x="1242884" y="463067"/>
                  <a:pt x="1232950" y="456816"/>
                  <a:pt x="1232950" y="439499"/>
                </a:cubicBezTo>
                <a:close/>
                <a:moveTo>
                  <a:pt x="1661168" y="363772"/>
                </a:moveTo>
                <a:lnTo>
                  <a:pt x="1678494" y="363772"/>
                </a:lnTo>
                <a:lnTo>
                  <a:pt x="1678494" y="403101"/>
                </a:lnTo>
                <a:cubicBezTo>
                  <a:pt x="1682054" y="395863"/>
                  <a:pt x="1688876" y="391587"/>
                  <a:pt x="1697823" y="391587"/>
                </a:cubicBezTo>
                <a:cubicBezTo>
                  <a:pt x="1713443" y="391616"/>
                  <a:pt x="1723527" y="402533"/>
                  <a:pt x="1723527" y="420298"/>
                </a:cubicBezTo>
                <a:lnTo>
                  <a:pt x="1723527" y="461482"/>
                </a:lnTo>
                <a:lnTo>
                  <a:pt x="1706202" y="461482"/>
                </a:lnTo>
                <a:lnTo>
                  <a:pt x="1706202" y="422841"/>
                </a:lnTo>
                <a:cubicBezTo>
                  <a:pt x="1706202" y="413599"/>
                  <a:pt x="1700935" y="407797"/>
                  <a:pt x="1692407" y="407797"/>
                </a:cubicBezTo>
                <a:cubicBezTo>
                  <a:pt x="1683880" y="407797"/>
                  <a:pt x="1678494" y="413629"/>
                  <a:pt x="1678494" y="422841"/>
                </a:cubicBezTo>
                <a:lnTo>
                  <a:pt x="1678494" y="461482"/>
                </a:lnTo>
                <a:lnTo>
                  <a:pt x="1661168" y="461482"/>
                </a:lnTo>
                <a:close/>
                <a:moveTo>
                  <a:pt x="750213" y="363772"/>
                </a:moveTo>
                <a:lnTo>
                  <a:pt x="767538" y="363772"/>
                </a:lnTo>
                <a:lnTo>
                  <a:pt x="767538" y="403101"/>
                </a:lnTo>
                <a:cubicBezTo>
                  <a:pt x="771098" y="395863"/>
                  <a:pt x="777921" y="391587"/>
                  <a:pt x="786867" y="391587"/>
                </a:cubicBezTo>
                <a:cubicBezTo>
                  <a:pt x="802487" y="391616"/>
                  <a:pt x="812571" y="402533"/>
                  <a:pt x="812571" y="420298"/>
                </a:cubicBezTo>
                <a:lnTo>
                  <a:pt x="812571" y="461482"/>
                </a:lnTo>
                <a:lnTo>
                  <a:pt x="795246" y="461482"/>
                </a:lnTo>
                <a:lnTo>
                  <a:pt x="795246" y="422841"/>
                </a:lnTo>
                <a:cubicBezTo>
                  <a:pt x="795246" y="413599"/>
                  <a:pt x="789979" y="407797"/>
                  <a:pt x="781451" y="407797"/>
                </a:cubicBezTo>
                <a:cubicBezTo>
                  <a:pt x="772924" y="407797"/>
                  <a:pt x="767538" y="413629"/>
                  <a:pt x="767538" y="422841"/>
                </a:cubicBezTo>
                <a:lnTo>
                  <a:pt x="767538" y="461482"/>
                </a:lnTo>
                <a:lnTo>
                  <a:pt x="750213" y="461482"/>
                </a:lnTo>
                <a:close/>
                <a:moveTo>
                  <a:pt x="1760720" y="269382"/>
                </a:moveTo>
                <a:lnTo>
                  <a:pt x="1764580" y="269382"/>
                </a:lnTo>
                <a:lnTo>
                  <a:pt x="1773138" y="282960"/>
                </a:lnTo>
                <a:lnTo>
                  <a:pt x="1781666" y="269382"/>
                </a:lnTo>
                <a:lnTo>
                  <a:pt x="1785077" y="269382"/>
                </a:lnTo>
                <a:lnTo>
                  <a:pt x="1785077" y="293099"/>
                </a:lnTo>
                <a:lnTo>
                  <a:pt x="1781756" y="293099"/>
                </a:lnTo>
                <a:lnTo>
                  <a:pt x="1781756" y="274705"/>
                </a:lnTo>
                <a:lnTo>
                  <a:pt x="1772929" y="288433"/>
                </a:lnTo>
                <a:lnTo>
                  <a:pt x="1764042" y="274705"/>
                </a:lnTo>
                <a:lnTo>
                  <a:pt x="1764042" y="293099"/>
                </a:lnTo>
                <a:lnTo>
                  <a:pt x="1760720" y="293099"/>
                </a:lnTo>
                <a:close/>
                <a:moveTo>
                  <a:pt x="1748452" y="268963"/>
                </a:moveTo>
                <a:cubicBezTo>
                  <a:pt x="1752163" y="268963"/>
                  <a:pt x="1755155" y="270578"/>
                  <a:pt x="1756591" y="272642"/>
                </a:cubicBezTo>
                <a:lnTo>
                  <a:pt x="1754287" y="274885"/>
                </a:lnTo>
                <a:cubicBezTo>
                  <a:pt x="1753210" y="273359"/>
                  <a:pt x="1750966" y="272073"/>
                  <a:pt x="1748392" y="272073"/>
                </a:cubicBezTo>
                <a:cubicBezTo>
                  <a:pt x="1745550" y="272073"/>
                  <a:pt x="1743754" y="273330"/>
                  <a:pt x="1743754" y="275274"/>
                </a:cubicBezTo>
                <a:cubicBezTo>
                  <a:pt x="1743754" y="280508"/>
                  <a:pt x="1757010" y="278115"/>
                  <a:pt x="1757010" y="286549"/>
                </a:cubicBezTo>
                <a:cubicBezTo>
                  <a:pt x="1757010" y="290736"/>
                  <a:pt x="1753599" y="293547"/>
                  <a:pt x="1748303" y="293547"/>
                </a:cubicBezTo>
                <a:cubicBezTo>
                  <a:pt x="1743844" y="293547"/>
                  <a:pt x="1740972" y="291813"/>
                  <a:pt x="1739326" y="289510"/>
                </a:cubicBezTo>
                <a:lnTo>
                  <a:pt x="1741720" y="287267"/>
                </a:lnTo>
                <a:cubicBezTo>
                  <a:pt x="1743306" y="289330"/>
                  <a:pt x="1745610" y="290407"/>
                  <a:pt x="1748303" y="290407"/>
                </a:cubicBezTo>
                <a:cubicBezTo>
                  <a:pt x="1751564" y="290407"/>
                  <a:pt x="1753419" y="289001"/>
                  <a:pt x="1753419" y="286788"/>
                </a:cubicBezTo>
                <a:cubicBezTo>
                  <a:pt x="1753419" y="281016"/>
                  <a:pt x="1740164" y="283558"/>
                  <a:pt x="1740164" y="275393"/>
                </a:cubicBezTo>
                <a:cubicBezTo>
                  <a:pt x="1740164" y="271565"/>
                  <a:pt x="1743545" y="268963"/>
                  <a:pt x="1748452" y="268963"/>
                </a:cubicBezTo>
                <a:close/>
                <a:moveTo>
                  <a:pt x="1411587" y="134646"/>
                </a:moveTo>
                <a:cubicBezTo>
                  <a:pt x="1380557" y="134646"/>
                  <a:pt x="1357906" y="160217"/>
                  <a:pt x="1357906" y="192488"/>
                </a:cubicBezTo>
                <a:cubicBezTo>
                  <a:pt x="1357906" y="224759"/>
                  <a:pt x="1380557" y="250749"/>
                  <a:pt x="1411587" y="250749"/>
                </a:cubicBezTo>
                <a:cubicBezTo>
                  <a:pt x="1442197" y="250749"/>
                  <a:pt x="1464429" y="224759"/>
                  <a:pt x="1464429" y="192488"/>
                </a:cubicBezTo>
                <a:cubicBezTo>
                  <a:pt x="1464429" y="160217"/>
                  <a:pt x="1442197" y="134646"/>
                  <a:pt x="1411587" y="134646"/>
                </a:cubicBezTo>
                <a:close/>
                <a:moveTo>
                  <a:pt x="742014" y="134646"/>
                </a:moveTo>
                <a:cubicBezTo>
                  <a:pt x="710985" y="134646"/>
                  <a:pt x="688334" y="160217"/>
                  <a:pt x="688334" y="192488"/>
                </a:cubicBezTo>
                <a:cubicBezTo>
                  <a:pt x="688334" y="224759"/>
                  <a:pt x="710985" y="250749"/>
                  <a:pt x="742014" y="250749"/>
                </a:cubicBezTo>
                <a:cubicBezTo>
                  <a:pt x="772625" y="250749"/>
                  <a:pt x="794857" y="224759"/>
                  <a:pt x="794857" y="192488"/>
                </a:cubicBezTo>
                <a:cubicBezTo>
                  <a:pt x="794857" y="160217"/>
                  <a:pt x="772625" y="134646"/>
                  <a:pt x="742014" y="134646"/>
                </a:cubicBezTo>
                <a:close/>
                <a:moveTo>
                  <a:pt x="1110987" y="130070"/>
                </a:moveTo>
                <a:cubicBezTo>
                  <a:pt x="1085373" y="130040"/>
                  <a:pt x="1067779" y="147656"/>
                  <a:pt x="1061914" y="173227"/>
                </a:cubicBezTo>
                <a:lnTo>
                  <a:pt x="1158773" y="173227"/>
                </a:lnTo>
                <a:cubicBezTo>
                  <a:pt x="1152908" y="144725"/>
                  <a:pt x="1134865" y="130070"/>
                  <a:pt x="1110987" y="130070"/>
                </a:cubicBezTo>
                <a:close/>
                <a:moveTo>
                  <a:pt x="733636" y="86494"/>
                </a:moveTo>
                <a:cubicBezTo>
                  <a:pt x="760057" y="86494"/>
                  <a:pt x="780584" y="96124"/>
                  <a:pt x="794857" y="112484"/>
                </a:cubicBezTo>
                <a:lnTo>
                  <a:pt x="794857" y="92356"/>
                </a:lnTo>
                <a:lnTo>
                  <a:pt x="846443" y="92356"/>
                </a:lnTo>
                <a:lnTo>
                  <a:pt x="846443" y="293099"/>
                </a:lnTo>
                <a:lnTo>
                  <a:pt x="794857" y="293099"/>
                </a:lnTo>
                <a:lnTo>
                  <a:pt x="794857" y="271296"/>
                </a:lnTo>
                <a:cubicBezTo>
                  <a:pt x="780195" y="288493"/>
                  <a:pt x="759639" y="298961"/>
                  <a:pt x="733636" y="298961"/>
                </a:cubicBezTo>
                <a:cubicBezTo>
                  <a:pt x="680374" y="298961"/>
                  <a:pt x="637196" y="255385"/>
                  <a:pt x="637196" y="192937"/>
                </a:cubicBezTo>
                <a:cubicBezTo>
                  <a:pt x="637196" y="132164"/>
                  <a:pt x="677861" y="86494"/>
                  <a:pt x="733636" y="86494"/>
                </a:cubicBezTo>
                <a:close/>
                <a:moveTo>
                  <a:pt x="555628" y="86494"/>
                </a:moveTo>
                <a:cubicBezTo>
                  <a:pt x="590009" y="86494"/>
                  <a:pt x="617268" y="98218"/>
                  <a:pt x="634862" y="116671"/>
                </a:cubicBezTo>
                <a:lnTo>
                  <a:pt x="605509" y="153129"/>
                </a:lnTo>
                <a:cubicBezTo>
                  <a:pt x="592941" y="140957"/>
                  <a:pt x="577860" y="134676"/>
                  <a:pt x="558141" y="134676"/>
                </a:cubicBezTo>
                <a:cubicBezTo>
                  <a:pt x="524599" y="134676"/>
                  <a:pt x="501947" y="160247"/>
                  <a:pt x="501947" y="192518"/>
                </a:cubicBezTo>
                <a:cubicBezTo>
                  <a:pt x="501947" y="224789"/>
                  <a:pt x="525017" y="250779"/>
                  <a:pt x="557723" y="250779"/>
                </a:cubicBezTo>
                <a:cubicBezTo>
                  <a:pt x="578279" y="250779"/>
                  <a:pt x="594617" y="243661"/>
                  <a:pt x="607184" y="231070"/>
                </a:cubicBezTo>
                <a:lnTo>
                  <a:pt x="633187" y="268784"/>
                </a:lnTo>
                <a:cubicBezTo>
                  <a:pt x="617238" y="286370"/>
                  <a:pt x="588333" y="298961"/>
                  <a:pt x="556466" y="298961"/>
                </a:cubicBezTo>
                <a:cubicBezTo>
                  <a:pt x="496920" y="298961"/>
                  <a:pt x="450810" y="251198"/>
                  <a:pt x="450810" y="192937"/>
                </a:cubicBezTo>
                <a:cubicBezTo>
                  <a:pt x="450810" y="134257"/>
                  <a:pt x="496920" y="86494"/>
                  <a:pt x="555628" y="86494"/>
                </a:cubicBezTo>
                <a:close/>
                <a:moveTo>
                  <a:pt x="1647225" y="86464"/>
                </a:moveTo>
                <a:cubicBezTo>
                  <a:pt x="1693754" y="86464"/>
                  <a:pt x="1723527" y="119154"/>
                  <a:pt x="1723527" y="171553"/>
                </a:cubicBezTo>
                <a:lnTo>
                  <a:pt x="1723527" y="293099"/>
                </a:lnTo>
                <a:lnTo>
                  <a:pt x="1672360" y="293099"/>
                </a:lnTo>
                <a:lnTo>
                  <a:pt x="1672360" y="179089"/>
                </a:lnTo>
                <a:cubicBezTo>
                  <a:pt x="1672360" y="151843"/>
                  <a:pt x="1656411" y="134676"/>
                  <a:pt x="1631695" y="134676"/>
                </a:cubicBezTo>
                <a:cubicBezTo>
                  <a:pt x="1606112" y="134676"/>
                  <a:pt x="1590612" y="151843"/>
                  <a:pt x="1590612" y="179089"/>
                </a:cubicBezTo>
                <a:lnTo>
                  <a:pt x="1590612" y="293069"/>
                </a:lnTo>
                <a:lnTo>
                  <a:pt x="1539445" y="293069"/>
                </a:lnTo>
                <a:lnTo>
                  <a:pt x="1539445" y="92326"/>
                </a:lnTo>
                <a:lnTo>
                  <a:pt x="1590612" y="92326"/>
                </a:lnTo>
                <a:lnTo>
                  <a:pt x="1590612" y="112035"/>
                </a:lnTo>
                <a:cubicBezTo>
                  <a:pt x="1603179" y="95676"/>
                  <a:pt x="1622479" y="86464"/>
                  <a:pt x="1647225" y="86464"/>
                </a:cubicBezTo>
                <a:close/>
                <a:moveTo>
                  <a:pt x="1411168" y="86464"/>
                </a:moveTo>
                <a:cubicBezTo>
                  <a:pt x="1469456" y="86464"/>
                  <a:pt x="1515986" y="134227"/>
                  <a:pt x="1515986" y="192907"/>
                </a:cubicBezTo>
                <a:cubicBezTo>
                  <a:pt x="1515986" y="251168"/>
                  <a:pt x="1469456" y="298931"/>
                  <a:pt x="1411168" y="298931"/>
                </a:cubicBezTo>
                <a:cubicBezTo>
                  <a:pt x="1352879" y="298961"/>
                  <a:pt x="1306769" y="251168"/>
                  <a:pt x="1306769" y="192907"/>
                </a:cubicBezTo>
                <a:cubicBezTo>
                  <a:pt x="1306769" y="134227"/>
                  <a:pt x="1352879" y="86464"/>
                  <a:pt x="1411168" y="86464"/>
                </a:cubicBezTo>
                <a:close/>
                <a:moveTo>
                  <a:pt x="1110119" y="86464"/>
                </a:moveTo>
                <a:cubicBezTo>
                  <a:pt x="1167570" y="86464"/>
                  <a:pt x="1211167" y="130878"/>
                  <a:pt x="1211167" y="188720"/>
                </a:cubicBezTo>
                <a:cubicBezTo>
                  <a:pt x="1211167" y="195001"/>
                  <a:pt x="1210748" y="202119"/>
                  <a:pt x="1209910" y="205468"/>
                </a:cubicBezTo>
                <a:lnTo>
                  <a:pt x="1061046" y="205468"/>
                </a:lnTo>
                <a:cubicBezTo>
                  <a:pt x="1066073" y="233552"/>
                  <a:pt x="1087468" y="253680"/>
                  <a:pt x="1118497" y="253680"/>
                </a:cubicBezTo>
                <a:cubicBezTo>
                  <a:pt x="1138635" y="253680"/>
                  <a:pt x="1155810" y="244887"/>
                  <a:pt x="1167570" y="232715"/>
                </a:cubicBezTo>
                <a:lnTo>
                  <a:pt x="1193991" y="267498"/>
                </a:lnTo>
                <a:cubicBezTo>
                  <a:pt x="1178910" y="285084"/>
                  <a:pt x="1150394" y="298931"/>
                  <a:pt x="1116433" y="298931"/>
                </a:cubicBezTo>
                <a:cubicBezTo>
                  <a:pt x="1053925" y="298961"/>
                  <a:pt x="1008652" y="251168"/>
                  <a:pt x="1008652" y="192907"/>
                </a:cubicBezTo>
                <a:cubicBezTo>
                  <a:pt x="1008652" y="134227"/>
                  <a:pt x="1052249" y="86464"/>
                  <a:pt x="1110119" y="86464"/>
                </a:cubicBezTo>
                <a:close/>
                <a:moveTo>
                  <a:pt x="983518" y="86464"/>
                </a:moveTo>
                <a:cubicBezTo>
                  <a:pt x="996923" y="86464"/>
                  <a:pt x="1007844" y="90232"/>
                  <a:pt x="1015804" y="96513"/>
                </a:cubicBezTo>
                <a:lnTo>
                  <a:pt x="994409" y="145144"/>
                </a:lnTo>
                <a:cubicBezTo>
                  <a:pt x="987707" y="139700"/>
                  <a:pt x="977623" y="136351"/>
                  <a:pt x="967988" y="136351"/>
                </a:cubicBezTo>
                <a:cubicBezTo>
                  <a:pt x="947431" y="136351"/>
                  <a:pt x="934445" y="153548"/>
                  <a:pt x="934445" y="180764"/>
                </a:cubicBezTo>
                <a:lnTo>
                  <a:pt x="934445" y="293069"/>
                </a:lnTo>
                <a:lnTo>
                  <a:pt x="883278" y="293069"/>
                </a:lnTo>
                <a:lnTo>
                  <a:pt x="883278" y="92326"/>
                </a:lnTo>
                <a:lnTo>
                  <a:pt x="934445" y="92326"/>
                </a:lnTo>
                <a:lnTo>
                  <a:pt x="934445" y="114129"/>
                </a:lnTo>
                <a:cubicBezTo>
                  <a:pt x="945756" y="97351"/>
                  <a:pt x="962542" y="86464"/>
                  <a:pt x="983518" y="86464"/>
                </a:cubicBezTo>
                <a:close/>
                <a:moveTo>
                  <a:pt x="289840" y="38556"/>
                </a:moveTo>
                <a:cubicBezTo>
                  <a:pt x="268622" y="39645"/>
                  <a:pt x="249103" y="53154"/>
                  <a:pt x="241383" y="74352"/>
                </a:cubicBezTo>
                <a:cubicBezTo>
                  <a:pt x="235129" y="91489"/>
                  <a:pt x="238062" y="109763"/>
                  <a:pt x="247637" y="123760"/>
                </a:cubicBezTo>
                <a:lnTo>
                  <a:pt x="192849" y="146131"/>
                </a:lnTo>
                <a:lnTo>
                  <a:pt x="138151" y="123610"/>
                </a:lnTo>
                <a:cubicBezTo>
                  <a:pt x="140635" y="119962"/>
                  <a:pt x="142699" y="115924"/>
                  <a:pt x="144285" y="111587"/>
                </a:cubicBezTo>
                <a:lnTo>
                  <a:pt x="147574" y="93063"/>
                </a:lnTo>
                <a:lnTo>
                  <a:pt x="137965" y="62101"/>
                </a:lnTo>
                <a:cubicBezTo>
                  <a:pt x="131763" y="53072"/>
                  <a:pt x="122787" y="45819"/>
                  <a:pt x="111700" y="41782"/>
                </a:cubicBezTo>
                <a:cubicBezTo>
                  <a:pt x="104624" y="39210"/>
                  <a:pt x="97362" y="38193"/>
                  <a:pt x="90289" y="38556"/>
                </a:cubicBezTo>
                <a:cubicBezTo>
                  <a:pt x="69070" y="39645"/>
                  <a:pt x="49552" y="53154"/>
                  <a:pt x="41831" y="74352"/>
                </a:cubicBezTo>
                <a:cubicBezTo>
                  <a:pt x="31538" y="102645"/>
                  <a:pt x="46140" y="133899"/>
                  <a:pt x="74417" y="144187"/>
                </a:cubicBezTo>
                <a:cubicBezTo>
                  <a:pt x="91562" y="150438"/>
                  <a:pt x="109845" y="147507"/>
                  <a:pt x="123849" y="137936"/>
                </a:cubicBezTo>
                <a:lnTo>
                  <a:pt x="146231" y="192668"/>
                </a:lnTo>
                <a:lnTo>
                  <a:pt x="123699" y="247340"/>
                </a:lnTo>
                <a:cubicBezTo>
                  <a:pt x="120048" y="244858"/>
                  <a:pt x="116009" y="242794"/>
                  <a:pt x="111670" y="241209"/>
                </a:cubicBezTo>
                <a:cubicBezTo>
                  <a:pt x="105536" y="238996"/>
                  <a:pt x="99282" y="237919"/>
                  <a:pt x="93118" y="237919"/>
                </a:cubicBezTo>
                <a:lnTo>
                  <a:pt x="93128" y="237895"/>
                </a:lnTo>
                <a:lnTo>
                  <a:pt x="62160" y="247497"/>
                </a:lnTo>
                <a:cubicBezTo>
                  <a:pt x="53127" y="253696"/>
                  <a:pt x="45871" y="262668"/>
                  <a:pt x="41831" y="273749"/>
                </a:cubicBezTo>
                <a:cubicBezTo>
                  <a:pt x="31538" y="302042"/>
                  <a:pt x="46140" y="333296"/>
                  <a:pt x="74417" y="343584"/>
                </a:cubicBezTo>
                <a:cubicBezTo>
                  <a:pt x="102723" y="353872"/>
                  <a:pt x="133992" y="339277"/>
                  <a:pt x="144286" y="311014"/>
                </a:cubicBezTo>
                <a:cubicBezTo>
                  <a:pt x="150539" y="293877"/>
                  <a:pt x="147607" y="275603"/>
                  <a:pt x="138032" y="261606"/>
                </a:cubicBezTo>
                <a:lnTo>
                  <a:pt x="192820" y="239235"/>
                </a:lnTo>
                <a:lnTo>
                  <a:pt x="247458" y="261785"/>
                </a:lnTo>
                <a:cubicBezTo>
                  <a:pt x="244974" y="265434"/>
                  <a:pt x="242910" y="269472"/>
                  <a:pt x="241324" y="273808"/>
                </a:cubicBezTo>
                <a:lnTo>
                  <a:pt x="238035" y="292332"/>
                </a:lnTo>
                <a:lnTo>
                  <a:pt x="247644" y="323295"/>
                </a:lnTo>
                <a:cubicBezTo>
                  <a:pt x="253846" y="332324"/>
                  <a:pt x="262823" y="339577"/>
                  <a:pt x="273909" y="343614"/>
                </a:cubicBezTo>
                <a:cubicBezTo>
                  <a:pt x="302215" y="353902"/>
                  <a:pt x="333484" y="339307"/>
                  <a:pt x="343778" y="311044"/>
                </a:cubicBezTo>
                <a:cubicBezTo>
                  <a:pt x="354071" y="282751"/>
                  <a:pt x="339469" y="251497"/>
                  <a:pt x="311192" y="241208"/>
                </a:cubicBezTo>
                <a:cubicBezTo>
                  <a:pt x="294047" y="234958"/>
                  <a:pt x="275764" y="237889"/>
                  <a:pt x="261760" y="247459"/>
                </a:cubicBezTo>
                <a:lnTo>
                  <a:pt x="239379" y="192697"/>
                </a:lnTo>
                <a:lnTo>
                  <a:pt x="261940" y="138115"/>
                </a:lnTo>
                <a:cubicBezTo>
                  <a:pt x="265591" y="140597"/>
                  <a:pt x="269630" y="142661"/>
                  <a:pt x="273969" y="144246"/>
                </a:cubicBezTo>
                <a:lnTo>
                  <a:pt x="292497" y="147532"/>
                </a:lnTo>
                <a:lnTo>
                  <a:pt x="292520" y="147477"/>
                </a:lnTo>
                <a:cubicBezTo>
                  <a:pt x="314813" y="147507"/>
                  <a:pt x="335758" y="133779"/>
                  <a:pt x="343837" y="111617"/>
                </a:cubicBezTo>
                <a:cubicBezTo>
                  <a:pt x="354130" y="83324"/>
                  <a:pt x="339528" y="52070"/>
                  <a:pt x="311252" y="41782"/>
                </a:cubicBezTo>
                <a:cubicBezTo>
                  <a:pt x="304175" y="39210"/>
                  <a:pt x="296913" y="38193"/>
                  <a:pt x="289840" y="38556"/>
                </a:cubicBezTo>
                <a:close/>
                <a:moveTo>
                  <a:pt x="1232142" y="4755"/>
                </a:moveTo>
                <a:lnTo>
                  <a:pt x="1283310" y="4755"/>
                </a:lnTo>
                <a:lnTo>
                  <a:pt x="1283310" y="293099"/>
                </a:lnTo>
                <a:lnTo>
                  <a:pt x="1232142" y="293099"/>
                </a:lnTo>
                <a:lnTo>
                  <a:pt x="1232142" y="156868"/>
                </a:lnTo>
                <a:close/>
                <a:moveTo>
                  <a:pt x="93029" y="0"/>
                </a:moveTo>
                <a:cubicBezTo>
                  <a:pt x="144435" y="0"/>
                  <a:pt x="186087" y="41632"/>
                  <a:pt x="186087" y="92984"/>
                </a:cubicBezTo>
                <a:lnTo>
                  <a:pt x="184801" y="108375"/>
                </a:lnTo>
                <a:lnTo>
                  <a:pt x="192819" y="111677"/>
                </a:lnTo>
                <a:lnTo>
                  <a:pt x="200808" y="108387"/>
                </a:lnTo>
                <a:cubicBezTo>
                  <a:pt x="200000" y="103751"/>
                  <a:pt x="199552" y="97859"/>
                  <a:pt x="199552" y="92984"/>
                </a:cubicBezTo>
                <a:cubicBezTo>
                  <a:pt x="199552" y="41632"/>
                  <a:pt x="241204" y="0"/>
                  <a:pt x="292580" y="0"/>
                </a:cubicBezTo>
                <a:cubicBezTo>
                  <a:pt x="343957" y="0"/>
                  <a:pt x="385609" y="41632"/>
                  <a:pt x="385609" y="92984"/>
                </a:cubicBezTo>
                <a:cubicBezTo>
                  <a:pt x="385609" y="144337"/>
                  <a:pt x="343957" y="185969"/>
                  <a:pt x="292580" y="185969"/>
                </a:cubicBezTo>
                <a:lnTo>
                  <a:pt x="277196" y="184685"/>
                </a:lnTo>
                <a:lnTo>
                  <a:pt x="273879" y="192727"/>
                </a:lnTo>
                <a:lnTo>
                  <a:pt x="277170" y="200713"/>
                </a:lnTo>
                <a:cubicBezTo>
                  <a:pt x="281868" y="199875"/>
                  <a:pt x="287703" y="199427"/>
                  <a:pt x="292580" y="199427"/>
                </a:cubicBezTo>
                <a:cubicBezTo>
                  <a:pt x="343957" y="199427"/>
                  <a:pt x="385579" y="241059"/>
                  <a:pt x="385579" y="292411"/>
                </a:cubicBezTo>
                <a:cubicBezTo>
                  <a:pt x="385579" y="343763"/>
                  <a:pt x="343927" y="385395"/>
                  <a:pt x="292551" y="385395"/>
                </a:cubicBezTo>
                <a:cubicBezTo>
                  <a:pt x="241174" y="385395"/>
                  <a:pt x="199522" y="343763"/>
                  <a:pt x="199522" y="292411"/>
                </a:cubicBezTo>
                <a:lnTo>
                  <a:pt x="200808" y="277021"/>
                </a:lnTo>
                <a:lnTo>
                  <a:pt x="192790" y="273719"/>
                </a:lnTo>
                <a:lnTo>
                  <a:pt x="184770" y="277009"/>
                </a:lnTo>
                <a:cubicBezTo>
                  <a:pt x="185638" y="281913"/>
                  <a:pt x="186057" y="287536"/>
                  <a:pt x="186057" y="292411"/>
                </a:cubicBezTo>
                <a:cubicBezTo>
                  <a:pt x="186057" y="343763"/>
                  <a:pt x="144405" y="385396"/>
                  <a:pt x="93029" y="385396"/>
                </a:cubicBezTo>
                <a:cubicBezTo>
                  <a:pt x="41652" y="385396"/>
                  <a:pt x="0" y="343763"/>
                  <a:pt x="0" y="292411"/>
                </a:cubicBezTo>
                <a:cubicBezTo>
                  <a:pt x="0" y="241059"/>
                  <a:pt x="41652" y="199427"/>
                  <a:pt x="93058" y="199367"/>
                </a:cubicBezTo>
                <a:lnTo>
                  <a:pt x="108458" y="200682"/>
                </a:lnTo>
                <a:lnTo>
                  <a:pt x="111760" y="192668"/>
                </a:lnTo>
                <a:lnTo>
                  <a:pt x="108439" y="184713"/>
                </a:lnTo>
                <a:cubicBezTo>
                  <a:pt x="103801" y="185520"/>
                  <a:pt x="97906" y="185939"/>
                  <a:pt x="93029" y="185939"/>
                </a:cubicBezTo>
                <a:cubicBezTo>
                  <a:pt x="41652" y="185939"/>
                  <a:pt x="0" y="144337"/>
                  <a:pt x="0" y="92984"/>
                </a:cubicBezTo>
                <a:cubicBezTo>
                  <a:pt x="0" y="41632"/>
                  <a:pt x="41652" y="0"/>
                  <a:pt x="9302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3076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23114C3-EDAA-984F-A7E5-1E563968A4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417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D06166-C3DA-C64B-AFD4-AAF287376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6609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D06166-C3DA-C64B-AFD4-AAF287376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4B6E5172-0EAF-9541-B6B0-E49938BC84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198" y="3759716"/>
            <a:ext cx="9366251" cy="622714"/>
          </a:xfrm>
        </p:spPr>
        <p:txBody>
          <a:bodyPr vert="horz" anchor="t"/>
          <a:lstStyle>
            <a:lvl1pPr algn="l">
              <a:defRPr sz="5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3B28E96-F998-4145-AFD3-BC0901E289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198" y="5143500"/>
            <a:ext cx="5638800" cy="2286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5BCB3DBE-7952-BD46-A5A1-E42AA39DD5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385850"/>
            <a:ext cx="5638800" cy="22453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i="0" dirty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EBA191B-5B26-1325-A418-51812774C9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96061" y="6156161"/>
            <a:ext cx="1786364" cy="463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85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6710D8F-0C63-AC41-AED8-7250F0DC1B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509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6710D8F-0C63-AC41-AED8-7250F0DC1B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B793E11-CA7F-4409-AF5F-4334AE726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FC1E18-3994-4821-BBED-2E435EACD9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94048"/>
            <a:ext cx="11292840" cy="431305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D28C7D-8653-A64D-9D01-E67E0D43199F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7C05061-C65B-D940-4DD8-5F7D9866404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215063" y="6306217"/>
            <a:ext cx="4567238" cy="266362"/>
          </a:xfrm>
        </p:spPr>
        <p:txBody>
          <a:bodyPr anchor="b" anchorCtr="0"/>
          <a:lstStyle>
            <a:lvl1pPr marL="0" indent="0" algn="r">
              <a:buNone/>
              <a:defRPr sz="9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39967442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FE45441-7E5B-8F4F-AEE9-C817B4D674E4}"/>
              </a:ext>
            </a:extLst>
          </p:cNvPr>
          <p:cNvGraphicFramePr>
            <a:graphicFrameLocks noChangeAspect="1"/>
          </p:cNvGraphicFramePr>
          <p:nvPr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6102931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7772400" imgH="10058400" progId="TCLayout.ActiveDocument.1">
                  <p:embed/>
                </p:oleObj>
              </mc:Choice>
              <mc:Fallback>
                <p:oleObj name="think-cell Slide" r:id="rId46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FE45441-7E5B-8F4F-AEE9-C817B4D674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88F042-2AFB-42B5-BB01-4498F4506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11274552" cy="8229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A90925-69FD-4467-9C11-D2AEE94BAB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694048"/>
            <a:ext cx="11274552" cy="43130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412B9A-E70E-6449-8DEF-3E56B12E4331}"/>
              </a:ext>
            </a:extLst>
          </p:cNvPr>
          <p:cNvSpPr txBox="1"/>
          <p:nvPr/>
        </p:nvSpPr>
        <p:spPr>
          <a:xfrm>
            <a:off x="11358961" y="6434080"/>
            <a:ext cx="379141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fld id="{2E41F6C8-4AC0-3E4A-83FC-D61DA5B25C9B}" type="slidenum">
              <a:rPr lang="en-US" sz="900" smtClean="0">
                <a:solidFill>
                  <a:schemeClr val="tx2"/>
                </a:solidFill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7BC2DB0-7F5A-4142-B10E-47FE768EB3DC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457199" y="6181343"/>
            <a:ext cx="365760" cy="36576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A279370-1DA0-5449-9F86-A580F6E9BE34}"/>
              </a:ext>
            </a:extLst>
          </p:cNvPr>
          <p:cNvSpPr txBox="1"/>
          <p:nvPr userDrawn="1"/>
        </p:nvSpPr>
        <p:spPr>
          <a:xfrm>
            <a:off x="-6350000" y="-6350000"/>
            <a:ext cx="65" cy="2769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Elevance Sans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C5949F-DBD0-8FC2-3AF3-FAB2E3F0E0AC}"/>
              </a:ext>
            </a:extLst>
          </p:cNvPr>
          <p:cNvSpPr txBox="1"/>
          <p:nvPr userDrawn="1"/>
        </p:nvSpPr>
        <p:spPr>
          <a:xfrm>
            <a:off x="-6350000" y="-6350000"/>
            <a:ext cx="65" cy="27699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/>
            <a:endParaRPr lang="en-US" dirty="0">
              <a:solidFill>
                <a:schemeClr val="tx2"/>
              </a:solidFill>
              <a:latin typeface="Elevance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30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62" r:id="rId2"/>
    <p:sldLayoutId id="2147483663" r:id="rId3"/>
    <p:sldLayoutId id="2147483699" r:id="rId4"/>
    <p:sldLayoutId id="2147483700" r:id="rId5"/>
    <p:sldLayoutId id="2147483701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94" r:id="rId15"/>
    <p:sldLayoutId id="2147483695" r:id="rId16"/>
    <p:sldLayoutId id="2147483696" r:id="rId17"/>
    <p:sldLayoutId id="2147483672" r:id="rId18"/>
    <p:sldLayoutId id="2147483673" r:id="rId19"/>
    <p:sldLayoutId id="2147483674" r:id="rId20"/>
    <p:sldLayoutId id="2147483675" r:id="rId21"/>
    <p:sldLayoutId id="2147483676" r:id="rId22"/>
    <p:sldLayoutId id="2147483677" r:id="rId23"/>
    <p:sldLayoutId id="2147483678" r:id="rId24"/>
    <p:sldLayoutId id="2147483703" r:id="rId25"/>
    <p:sldLayoutId id="2147483679" r:id="rId26"/>
    <p:sldLayoutId id="2147483680" r:id="rId27"/>
    <p:sldLayoutId id="2147483681" r:id="rId28"/>
    <p:sldLayoutId id="2147483682" r:id="rId29"/>
    <p:sldLayoutId id="2147483683" r:id="rId30"/>
    <p:sldLayoutId id="2147483684" r:id="rId31"/>
    <p:sldLayoutId id="2147483685" r:id="rId32"/>
    <p:sldLayoutId id="2147483686" r:id="rId33"/>
    <p:sldLayoutId id="2147483687" r:id="rId34"/>
    <p:sldLayoutId id="2147483688" r:id="rId35"/>
    <p:sldLayoutId id="2147483689" r:id="rId36"/>
    <p:sldLayoutId id="2147483704" r:id="rId37"/>
    <p:sldLayoutId id="2147483693" r:id="rId38"/>
    <p:sldLayoutId id="2147483692" r:id="rId39"/>
    <p:sldLayoutId id="2147483690" r:id="rId40"/>
    <p:sldLayoutId id="2147483705" r:id="rId41"/>
    <p:sldLayoutId id="2147483706" r:id="rId42"/>
    <p:sldLayoutId id="2147483707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2000"/>
        </a:spcBef>
        <a:buFont typeface="Elevance Sans" pitchFamily="2" charset="0"/>
        <a:buNone/>
        <a:tabLst/>
        <a:defRPr sz="2000" b="0" i="0" kern="1200">
          <a:solidFill>
            <a:schemeClr val="tx2"/>
          </a:solidFill>
          <a:latin typeface="Elevance Sans Medium" pitchFamily="2" charset="0"/>
          <a:ea typeface="+mn-ea"/>
          <a:cs typeface="+mn-cs"/>
        </a:defRPr>
      </a:lvl1pPr>
      <a:lvl2pPr marL="17463" indent="0" algn="l" defTabSz="914400" rtl="0" eaLnBrk="1" latinLnBrk="0" hangingPunct="1">
        <a:lnSpc>
          <a:spcPct val="100000"/>
        </a:lnSpc>
        <a:spcBef>
          <a:spcPts val="2000"/>
        </a:spcBef>
        <a:buFont typeface="Elevance Sans" pitchFamily="2" charset="0"/>
        <a:buNone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76213" indent="-166688" algn="l" defTabSz="914400" rtl="0" eaLnBrk="1" latinLnBrk="0" hangingPunct="1">
        <a:lnSpc>
          <a:spcPct val="100000"/>
        </a:lnSpc>
        <a:spcBef>
          <a:spcPts val="2000"/>
        </a:spcBef>
        <a:buFont typeface="Elevance Sans" pitchFamily="2" charset="0"/>
        <a:buChar char="•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463550" indent="-231775" algn="l" defTabSz="914400" rtl="0" eaLnBrk="1" latinLnBrk="0" hangingPunct="1">
        <a:lnSpc>
          <a:spcPct val="100000"/>
        </a:lnSpc>
        <a:spcBef>
          <a:spcPts val="2000"/>
        </a:spcBef>
        <a:buFont typeface="Elevance Sans" pitchFamily="2" charset="0"/>
        <a:buChar char="–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628650" indent="-165100" algn="l" defTabSz="914400" rtl="0" eaLnBrk="1" latinLnBrk="0" hangingPunct="1">
        <a:lnSpc>
          <a:spcPct val="100000"/>
        </a:lnSpc>
        <a:spcBef>
          <a:spcPts val="2000"/>
        </a:spcBef>
        <a:buFont typeface="Elevance Sans" pitchFamily="2" charset="0"/>
        <a:buChar char="•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Elevance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Elevance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Elevance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Elevance Sans" pitchFamily="2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11" orient="horz" pos="552">
          <p15:clr>
            <a:srgbClr val="F26B43"/>
          </p15:clr>
        </p15:guide>
        <p15:guide id="12" pos="7680">
          <p15:clr>
            <a:srgbClr val="F26B43"/>
          </p15:clr>
        </p15:guide>
        <p15:guide id="13" orient="horz" pos="1088">
          <p15:clr>
            <a:srgbClr val="F26B43"/>
          </p15:clr>
        </p15:guide>
        <p15:guide id="14" orient="horz" pos="1624">
          <p15:clr>
            <a:srgbClr val="F26B43"/>
          </p15:clr>
        </p15:guide>
        <p15:guide id="15" orient="horz" pos="2168">
          <p15:clr>
            <a:srgbClr val="F26B43"/>
          </p15:clr>
        </p15:guide>
        <p15:guide id="16" orient="horz" pos="2704">
          <p15:clr>
            <a:srgbClr val="F26B43"/>
          </p15:clr>
        </p15:guide>
        <p15:guide id="17" orient="horz" pos="3240">
          <p15:clr>
            <a:srgbClr val="F26B43"/>
          </p15:clr>
        </p15:guide>
        <p15:guide id="18" orient="horz" pos="3784">
          <p15:clr>
            <a:srgbClr val="F26B43"/>
          </p15:clr>
        </p15:guide>
        <p15:guide id="19" orient="horz" pos="4120">
          <p15:clr>
            <a:srgbClr val="F26B43"/>
          </p15:clr>
        </p15:guide>
        <p15:guide id="20" orient="horz" pos="272">
          <p15:clr>
            <a:srgbClr val="F26B43"/>
          </p15:clr>
        </p15:guide>
        <p15:guide id="21" pos="288">
          <p15:clr>
            <a:srgbClr val="F26B43"/>
          </p15:clr>
        </p15:guide>
        <p15:guide id="22" pos="7392">
          <p15:clr>
            <a:srgbClr val="F26B43"/>
          </p15:clr>
        </p15:guide>
        <p15:guide id="23">
          <p15:clr>
            <a:srgbClr val="F26B43"/>
          </p15:clr>
        </p15:guide>
        <p15:guide id="24" orient="horz" pos="4320">
          <p15:clr>
            <a:srgbClr val="F26B43"/>
          </p15:clr>
        </p15:guide>
        <p15:guide id="25" pos="894">
          <p15:clr>
            <a:srgbClr val="F26B43"/>
          </p15:clr>
        </p15:guide>
        <p15:guide id="26" pos="750">
          <p15:clr>
            <a:srgbClr val="F26B43"/>
          </p15:clr>
        </p15:guide>
        <p15:guide id="27" pos="1498">
          <p15:clr>
            <a:srgbClr val="F26B43"/>
          </p15:clr>
        </p15:guide>
        <p15:guide id="28" pos="1354">
          <p15:clr>
            <a:srgbClr val="F26B43"/>
          </p15:clr>
        </p15:guide>
        <p15:guide id="29" pos="2102">
          <p15:clr>
            <a:srgbClr val="F26B43"/>
          </p15:clr>
        </p15:guide>
        <p15:guide id="30" pos="1958">
          <p15:clr>
            <a:srgbClr val="F26B43"/>
          </p15:clr>
        </p15:guide>
        <p15:guide id="31" pos="2706">
          <p15:clr>
            <a:srgbClr val="F26B43"/>
          </p15:clr>
        </p15:guide>
        <p15:guide id="32" pos="2562">
          <p15:clr>
            <a:srgbClr val="F26B43"/>
          </p15:clr>
        </p15:guide>
        <p15:guide id="33" pos="3311">
          <p15:clr>
            <a:srgbClr val="F26B43"/>
          </p15:clr>
        </p15:guide>
        <p15:guide id="34" pos="3167">
          <p15:clr>
            <a:srgbClr val="F26B43"/>
          </p15:clr>
        </p15:guide>
        <p15:guide id="35" pos="3915">
          <p15:clr>
            <a:srgbClr val="F26B43"/>
          </p15:clr>
        </p15:guide>
        <p15:guide id="36" pos="3771">
          <p15:clr>
            <a:srgbClr val="F26B43"/>
          </p15:clr>
        </p15:guide>
        <p15:guide id="37" pos="4519">
          <p15:clr>
            <a:srgbClr val="F26B43"/>
          </p15:clr>
        </p15:guide>
        <p15:guide id="38" pos="4375">
          <p15:clr>
            <a:srgbClr val="F26B43"/>
          </p15:clr>
        </p15:guide>
        <p15:guide id="39" pos="5123">
          <p15:clr>
            <a:srgbClr val="F26B43"/>
          </p15:clr>
        </p15:guide>
        <p15:guide id="40" pos="4979">
          <p15:clr>
            <a:srgbClr val="F26B43"/>
          </p15:clr>
        </p15:guide>
        <p15:guide id="41" pos="5728">
          <p15:clr>
            <a:srgbClr val="F26B43"/>
          </p15:clr>
        </p15:guide>
        <p15:guide id="42" pos="5584">
          <p15:clr>
            <a:srgbClr val="F26B43"/>
          </p15:clr>
        </p15:guide>
        <p15:guide id="43" pos="6332">
          <p15:clr>
            <a:srgbClr val="F26B43"/>
          </p15:clr>
        </p15:guide>
        <p15:guide id="44" pos="6188">
          <p15:clr>
            <a:srgbClr val="F26B43"/>
          </p15:clr>
        </p15:guide>
        <p15:guide id="45" pos="6936">
          <p15:clr>
            <a:srgbClr val="F26B43"/>
          </p15:clr>
        </p15:guide>
        <p15:guide id="46" pos="67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hyperlink" Target="http://www.carelonwellbeing.com/jhp" TargetMode="Externa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arelonwellbeing.com/jhp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80A0F69B-72CA-54A1-0AA6-BD3C0E24AB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2208" y="1737659"/>
            <a:ext cx="10547552" cy="1777701"/>
          </a:xfrm>
        </p:spPr>
        <p:txBody>
          <a:bodyPr/>
          <a:lstStyle/>
          <a:p>
            <a:r>
              <a:rPr lang="en-US" dirty="0"/>
              <a:t>The Jefferson Health Plan</a:t>
            </a:r>
            <a:br>
              <a:rPr lang="en-US" dirty="0"/>
            </a:br>
            <a:br>
              <a:rPr lang="en-US" dirty="0"/>
            </a:br>
            <a:r>
              <a:rPr lang="en-US" dirty="0"/>
              <a:t>Employee Assistance Program Benefits Overview</a:t>
            </a:r>
          </a:p>
        </p:txBody>
      </p:sp>
    </p:spTree>
    <p:extLst>
      <p:ext uri="{BB962C8B-B14F-4D97-AF65-F5344CB8AC3E}">
        <p14:creationId xmlns:p14="http://schemas.microsoft.com/office/powerpoint/2010/main" val="3128460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5CEC0E-A029-054A-BD0E-F4827A6C6E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0080" y="2258292"/>
            <a:ext cx="5926975" cy="2618508"/>
          </a:xfrm>
        </p:spPr>
        <p:txBody>
          <a:bodyPr>
            <a:normAutofit/>
          </a:bodyPr>
          <a:lstStyle/>
          <a:p>
            <a:r>
              <a:rPr lang="en-US" dirty="0"/>
              <a:t>The Jefferson Health Plan EAP includes:</a:t>
            </a:r>
          </a:p>
          <a:p>
            <a:pPr lvl="1"/>
            <a:r>
              <a:rPr lang="en-US" dirty="0"/>
              <a:t>EAP Counseling (1-5 free visits)</a:t>
            </a:r>
          </a:p>
          <a:p>
            <a:pPr lvl="1"/>
            <a:r>
              <a:rPr lang="en-US" dirty="0" err="1"/>
              <a:t>Carelon</a:t>
            </a:r>
            <a:r>
              <a:rPr lang="en-US" dirty="0"/>
              <a:t> Wellbeing Website</a:t>
            </a:r>
          </a:p>
          <a:p>
            <a:pPr lvl="1"/>
            <a:r>
              <a:rPr lang="en-US" dirty="0"/>
              <a:t>Work/Life Services</a:t>
            </a:r>
          </a:p>
          <a:p>
            <a:pPr lvl="1"/>
            <a:r>
              <a:rPr lang="en-US" dirty="0"/>
              <a:t>Legal/Financial Servi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A86F83-F140-AC48-94D1-635A261BA1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The Jefferson Health Plan EAP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472291E-1E97-5E44-A6C2-CCA48CFA6A99}"/>
              </a:ext>
            </a:extLst>
          </p:cNvPr>
          <p:cNvSpPr/>
          <p:nvPr/>
        </p:nvSpPr>
        <p:spPr>
          <a:xfrm>
            <a:off x="8339329" y="0"/>
            <a:ext cx="3852672" cy="6858000"/>
          </a:xfrm>
          <a:prstGeom prst="rect">
            <a:avLst/>
          </a:prstGeom>
          <a:blipFill>
            <a:blip r:embed="rId2"/>
            <a:srcRect/>
            <a:stretch>
              <a:fillRect l="-86367" r="-8064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</p:spTree>
    <p:extLst>
      <p:ext uri="{BB962C8B-B14F-4D97-AF65-F5344CB8AC3E}">
        <p14:creationId xmlns:p14="http://schemas.microsoft.com/office/powerpoint/2010/main" val="24727772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645B2A-1069-D447-84D0-13E8E6529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0080" y="1776548"/>
            <a:ext cx="5812971" cy="3812447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5009B5"/>
                </a:solidFill>
                <a:latin typeface="+mn-lt"/>
              </a:rPr>
              <a:t>Up to 5 sessions available, per problem, per year, for personal and/or work stressors</a:t>
            </a:r>
          </a:p>
          <a:p>
            <a:r>
              <a:rPr lang="en-US" dirty="0">
                <a:solidFill>
                  <a:srgbClr val="5009B5"/>
                </a:solidFill>
                <a:latin typeface="+mn-lt"/>
              </a:rPr>
              <a:t>Face to Face sessions with a Licensed Mental Health Professional in your area</a:t>
            </a:r>
          </a:p>
          <a:p>
            <a:r>
              <a:rPr lang="en-US" dirty="0">
                <a:solidFill>
                  <a:srgbClr val="5009B5"/>
                </a:solidFill>
                <a:latin typeface="+mn-lt"/>
              </a:rPr>
              <a:t>Telephonic or Video options also available</a:t>
            </a:r>
          </a:p>
          <a:p>
            <a:r>
              <a:rPr lang="en-US" dirty="0">
                <a:solidFill>
                  <a:srgbClr val="5009B5"/>
                </a:solidFill>
                <a:latin typeface="+mn-lt"/>
              </a:rPr>
              <a:t>Convenient, Accessible, Confidential, and Free</a:t>
            </a:r>
          </a:p>
          <a:p>
            <a:endParaRPr lang="en-US" dirty="0">
              <a:solidFill>
                <a:srgbClr val="5009B5"/>
              </a:solidFill>
              <a:latin typeface="+mn-lt"/>
            </a:endParaRPr>
          </a:p>
          <a:p>
            <a:endParaRPr lang="en-US" dirty="0">
              <a:solidFill>
                <a:srgbClr val="5009B5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C94684-BF1E-3B49-ABFC-A8C96133A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EAP Counseling </a:t>
            </a:r>
          </a:p>
        </p:txBody>
      </p:sp>
      <p:pic>
        <p:nvPicPr>
          <p:cNvPr id="5" name="Picture Placeholder 4" descr="A picture containing person, sitting, indoor, person&#10;&#10;Description automatically generated">
            <a:extLst>
              <a:ext uri="{FF2B5EF4-FFF2-40B4-BE49-F238E27FC236}">
                <a16:creationId xmlns:a16="http://schemas.microsoft.com/office/drawing/2014/main" id="{5033C516-20E1-9BAC-485B-FA58B23CEE7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87953" y="0"/>
            <a:ext cx="51040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906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645B2A-1069-D447-84D0-13E8E6529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3986" y="1765311"/>
            <a:ext cx="6998195" cy="3889742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09B5"/>
                </a:solidFill>
                <a:hlinkClick r:id="rId2"/>
              </a:rPr>
              <a:t>www.carelonwellbeing.com/jhp</a:t>
            </a:r>
            <a:r>
              <a:rPr lang="en-US" dirty="0">
                <a:solidFill>
                  <a:srgbClr val="5009B5"/>
                </a:solidFill>
              </a:rPr>
              <a:t> </a:t>
            </a:r>
          </a:p>
          <a:p>
            <a:pPr marL="519113" lvl="2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5009B5"/>
                </a:solidFill>
              </a:rPr>
              <a:t>Articles</a:t>
            </a:r>
          </a:p>
          <a:p>
            <a:pPr marL="519113" lvl="2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5009B5"/>
                </a:solidFill>
              </a:rPr>
              <a:t>Audio/Video Clips</a:t>
            </a:r>
          </a:p>
          <a:p>
            <a:pPr marL="519113" lvl="2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5009B5"/>
                </a:solidFill>
              </a:rPr>
              <a:t>Podcasts</a:t>
            </a:r>
          </a:p>
          <a:p>
            <a:pPr marL="519113" lvl="2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5009B5"/>
                </a:solidFill>
              </a:rPr>
              <a:t>Webinars</a:t>
            </a:r>
          </a:p>
          <a:p>
            <a:pPr marL="519113" lvl="2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5009B5"/>
                </a:solidFill>
              </a:rPr>
              <a:t>Trainings</a:t>
            </a:r>
          </a:p>
          <a:p>
            <a:pPr marL="519113" lvl="2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5009B5"/>
                </a:solidFill>
              </a:rPr>
              <a:t>Assessments</a:t>
            </a:r>
          </a:p>
          <a:p>
            <a:pPr marL="519113" lvl="2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5009B5"/>
                </a:solidFill>
              </a:rPr>
              <a:t>Resources</a:t>
            </a:r>
          </a:p>
          <a:p>
            <a:endParaRPr lang="en-US" dirty="0">
              <a:solidFill>
                <a:srgbClr val="5009B5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C94684-BF1E-3B49-ABFC-A8C96133A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err="1"/>
              <a:t>Carelon</a:t>
            </a:r>
            <a:r>
              <a:rPr lang="en-US" b="1" dirty="0"/>
              <a:t> Wellbeing </a:t>
            </a:r>
          </a:p>
        </p:txBody>
      </p:sp>
      <p:graphicFrame>
        <p:nvGraphicFramePr>
          <p:cNvPr id="10" name="Chart 9"/>
          <p:cNvGraphicFramePr/>
          <p:nvPr/>
        </p:nvGraphicFramePr>
        <p:xfrm>
          <a:off x="5935937" y="2226977"/>
          <a:ext cx="5446301" cy="36931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720021C-359C-1767-A1D1-59B81F4DF8A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2877" y="1449858"/>
            <a:ext cx="3944057" cy="3944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0788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645B2A-1069-D447-84D0-13E8E6529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53708" y="5912614"/>
            <a:ext cx="9795164" cy="751759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5009B5"/>
                </a:solidFill>
              </a:rPr>
              <a:t>These are just some of the things your Work/Life Services can assist with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C94684-BF1E-3B49-ABFC-A8C96133A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Work/Life Service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640080" y="1454727"/>
          <a:ext cx="10908792" cy="43259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7198">
                  <a:extLst>
                    <a:ext uri="{9D8B030D-6E8A-4147-A177-3AD203B41FA5}">
                      <a16:colId xmlns:a16="http://schemas.microsoft.com/office/drawing/2014/main" val="2225619955"/>
                    </a:ext>
                  </a:extLst>
                </a:gridCol>
                <a:gridCol w="2727198">
                  <a:extLst>
                    <a:ext uri="{9D8B030D-6E8A-4147-A177-3AD203B41FA5}">
                      <a16:colId xmlns:a16="http://schemas.microsoft.com/office/drawing/2014/main" val="1389398032"/>
                    </a:ext>
                  </a:extLst>
                </a:gridCol>
                <a:gridCol w="2727198">
                  <a:extLst>
                    <a:ext uri="{9D8B030D-6E8A-4147-A177-3AD203B41FA5}">
                      <a16:colId xmlns:a16="http://schemas.microsoft.com/office/drawing/2014/main" val="1209333158"/>
                    </a:ext>
                  </a:extLst>
                </a:gridCol>
                <a:gridCol w="2727198">
                  <a:extLst>
                    <a:ext uri="{9D8B030D-6E8A-4147-A177-3AD203B41FA5}">
                      <a16:colId xmlns:a16="http://schemas.microsoft.com/office/drawing/2014/main" val="208291192"/>
                    </a:ext>
                  </a:extLst>
                </a:gridCol>
              </a:tblGrid>
              <a:tr h="332142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Child</a:t>
                      </a:r>
                      <a:r>
                        <a:rPr lang="en-US" b="1" baseline="0" dirty="0"/>
                        <a:t> Car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lder C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du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ily Liv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2556824"/>
                  </a:ext>
                </a:extLst>
              </a:tr>
              <a:tr h="47023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hild Care</a:t>
                      </a:r>
                      <a:r>
                        <a:rPr lang="en-US" baseline="0" dirty="0"/>
                        <a:t> Cente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ssisted</a:t>
                      </a:r>
                      <a:r>
                        <a:rPr lang="en-US" baseline="0" dirty="0"/>
                        <a:t> Living Faciliti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resch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itness and Nutr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8128506"/>
                  </a:ext>
                </a:extLst>
              </a:tr>
              <a:tr h="62928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amily Day Care Cen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ursing Ho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ublic-Private</a:t>
                      </a:r>
                      <a:r>
                        <a:rPr lang="en-US" baseline="0" dirty="0"/>
                        <a:t> School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et Sitt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4605809"/>
                  </a:ext>
                </a:extLst>
              </a:tr>
              <a:tr h="62928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ummer Cam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dult Day Care Progra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lleges and Univers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location 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1808969"/>
                  </a:ext>
                </a:extLst>
              </a:tr>
              <a:tr h="47023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doption Assist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aregiver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dult Education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ravel</a:t>
                      </a:r>
                      <a:r>
                        <a:rPr lang="en-US" baseline="0" dirty="0"/>
                        <a:t> Information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0862611"/>
                  </a:ext>
                </a:extLst>
              </a:tr>
              <a:tr h="47023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ch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tirement</a:t>
                      </a:r>
                      <a:r>
                        <a:rPr lang="en-US" baseline="0" dirty="0"/>
                        <a:t> Hom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u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ome Help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859138"/>
                  </a:ext>
                </a:extLst>
              </a:tr>
              <a:tr h="470237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anny</a:t>
                      </a:r>
                      <a:r>
                        <a:rPr lang="en-US" baseline="0" dirty="0"/>
                        <a:t> Agenci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ospi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est-Pr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lumb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2274348"/>
                  </a:ext>
                </a:extLst>
              </a:tr>
              <a:tr h="62928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fter School</a:t>
                      </a:r>
                      <a:r>
                        <a:rPr lang="en-US" baseline="0" dirty="0"/>
                        <a:t> Ca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eals-on-Wheels Prog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ntinuing</a:t>
                      </a:r>
                      <a:r>
                        <a:rPr lang="en-US" baseline="0" dirty="0"/>
                        <a:t> Educ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Wedding Plann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28989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55237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645B2A-1069-D447-84D0-13E8E6529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0080" y="1619794"/>
            <a:ext cx="6257109" cy="3963624"/>
          </a:xfrm>
        </p:spPr>
        <p:txBody>
          <a:bodyPr>
            <a:normAutofit fontScale="92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09B5"/>
                </a:solidFill>
                <a:latin typeface="+mn-lt"/>
              </a:rPr>
              <a:t>1 hour consult with an attorney on family law matters; 35% discount beyond free consult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09B5"/>
                </a:solidFill>
                <a:latin typeface="+mn-lt"/>
              </a:rPr>
              <a:t>30 minute free consult on all other legal matters; 25% discount beyond free consult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09B5"/>
                </a:solidFill>
                <a:latin typeface="+mn-lt"/>
              </a:rPr>
              <a:t>30 minute fee consult for legal mediation servic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09B5"/>
                </a:solidFill>
                <a:latin typeface="+mn-lt"/>
              </a:rPr>
              <a:t>Up to 1 hour free consultation with financial specialists for planning, credit counseling, budgeting, tax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09B5"/>
                </a:solidFill>
                <a:latin typeface="+mn-lt"/>
              </a:rPr>
              <a:t>Create legal documents on-line</a:t>
            </a:r>
          </a:p>
          <a:p>
            <a:pPr marL="806450" lvl="3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5009B5"/>
                </a:solidFill>
              </a:rPr>
              <a:t>Wills</a:t>
            </a:r>
          </a:p>
          <a:p>
            <a:pPr marL="806450" lvl="3" indent="-3429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5009B5"/>
                </a:solidFill>
              </a:rPr>
              <a:t>Power of Attorney and More!</a:t>
            </a:r>
          </a:p>
          <a:p>
            <a:endParaRPr lang="en-US" dirty="0">
              <a:solidFill>
                <a:srgbClr val="5009B5"/>
              </a:solidFill>
              <a:latin typeface="+mn-lt"/>
            </a:endParaRPr>
          </a:p>
          <a:p>
            <a:endParaRPr lang="en-US" dirty="0">
              <a:solidFill>
                <a:srgbClr val="5009B5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C94684-BF1E-3B49-ABFC-A8C96133A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Legal/Financial Servic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3626" y="640080"/>
            <a:ext cx="4415246" cy="537441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392890" y="5646286"/>
            <a:ext cx="1022613" cy="137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5776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2645B2A-1069-D447-84D0-13E8E6529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0081" y="1776848"/>
            <a:ext cx="5582044" cy="3688831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09B5"/>
                </a:solidFill>
                <a:latin typeface="+mn-lt"/>
              </a:rPr>
              <a:t>ID Threat Score estimates Vulnerability to ID Thef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09B5"/>
                </a:solidFill>
                <a:latin typeface="+mn-lt"/>
              </a:rPr>
              <a:t>Safe Wallet protects Valuable Document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09B5"/>
                </a:solidFill>
                <a:latin typeface="+mn-lt"/>
              </a:rPr>
              <a:t>Up to 1 hour of consultation with Fraud Resolution specialist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009B5"/>
                </a:solidFill>
                <a:latin typeface="+mn-lt"/>
              </a:rPr>
              <a:t>Optional Premium Upgrade discount.</a:t>
            </a:r>
          </a:p>
          <a:p>
            <a:endParaRPr lang="en-US" dirty="0">
              <a:solidFill>
                <a:srgbClr val="5009B5"/>
              </a:solidFill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C94684-BF1E-3B49-ABFC-A8C96133A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ID Theft Protection and Mitigation Enhancemen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8192" r="-594"/>
          <a:stretch/>
        </p:blipFill>
        <p:spPr>
          <a:xfrm>
            <a:off x="7076598" y="1513490"/>
            <a:ext cx="4095899" cy="4301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6496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C94684-BF1E-3B49-ABFC-A8C96133A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Organizational Servi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40080" y="1588113"/>
            <a:ext cx="10711093" cy="4308190"/>
          </a:xfrm>
        </p:spPr>
        <p:txBody>
          <a:bodyPr>
            <a:normAutofit fontScale="92500"/>
          </a:bodyPr>
          <a:lstStyle/>
          <a:p>
            <a:r>
              <a:rPr lang="en-US" sz="2000" dirty="0">
                <a:solidFill>
                  <a:srgbClr val="5009B5"/>
                </a:solidFill>
                <a:latin typeface="+mn-lt"/>
              </a:rPr>
              <a:t>EAP Workplace Consultants (EWCs) work directly with managers and human resources staff to help them grow their skills and learn how to deal effectively with employees and workgroups providing:</a:t>
            </a:r>
          </a:p>
          <a:p>
            <a:pPr marL="3032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009B5"/>
                </a:solidFill>
              </a:rPr>
              <a:t>Trainings</a:t>
            </a:r>
          </a:p>
          <a:p>
            <a:pPr marL="3032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009B5"/>
                </a:solidFill>
              </a:rPr>
              <a:t>Health Fairs</a:t>
            </a:r>
          </a:p>
          <a:p>
            <a:pPr marL="3032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009B5"/>
                </a:solidFill>
              </a:rPr>
              <a:t>Management Consultations</a:t>
            </a:r>
          </a:p>
          <a:p>
            <a:pPr marL="3032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009B5"/>
                </a:solidFill>
              </a:rPr>
              <a:t>Management Referrals</a:t>
            </a:r>
          </a:p>
          <a:p>
            <a:pPr marL="3032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009B5"/>
                </a:solidFill>
              </a:rPr>
              <a:t>Critical Incident/Disruptive Event Management consultation and coverage</a:t>
            </a:r>
          </a:p>
          <a:p>
            <a:pPr marL="303213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009B5"/>
                </a:solidFill>
              </a:rPr>
              <a:t>Onsite debriefing helped decrease employee workgroup distress by 40% in 2018</a:t>
            </a:r>
          </a:p>
          <a:p>
            <a:r>
              <a:rPr lang="en-US" sz="2000" dirty="0">
                <a:solidFill>
                  <a:srgbClr val="5009B5"/>
                </a:solidFill>
                <a:latin typeface="+mn-lt"/>
              </a:rPr>
              <a:t>EWC’s are available 24/7 to consult with managers on an</a:t>
            </a:r>
            <a:r>
              <a:rPr lang="en-US" sz="2000" i="1" dirty="0">
                <a:solidFill>
                  <a:srgbClr val="5009B5"/>
                </a:solidFill>
                <a:latin typeface="+mn-lt"/>
              </a:rPr>
              <a:t> unlimited </a:t>
            </a:r>
            <a:r>
              <a:rPr lang="en-US" sz="2000" dirty="0">
                <a:solidFill>
                  <a:srgbClr val="5009B5"/>
                </a:solidFill>
                <a:latin typeface="+mn-lt"/>
              </a:rPr>
              <a:t>basis at no additional charge.</a:t>
            </a:r>
          </a:p>
          <a:p>
            <a:pPr marL="0" indent="0">
              <a:buNone/>
            </a:pPr>
            <a:endParaRPr lang="en-US" sz="2000" dirty="0">
              <a:solidFill>
                <a:srgbClr val="5009B5"/>
              </a:solidFill>
              <a:latin typeface="+mn-lt"/>
            </a:endParaRPr>
          </a:p>
          <a:p>
            <a:endParaRPr lang="en-US" dirty="0">
              <a:solidFill>
                <a:srgbClr val="5009B5"/>
              </a:solidFill>
              <a:latin typeface="+mn-lt"/>
            </a:endParaRPr>
          </a:p>
          <a:p>
            <a:pPr marL="457200" lvl="1" indent="0">
              <a:buNone/>
            </a:pPr>
            <a:endParaRPr lang="en-US" dirty="0">
              <a:solidFill>
                <a:srgbClr val="5009B5"/>
              </a:solidFill>
            </a:endParaRPr>
          </a:p>
          <a:p>
            <a:pPr marL="457200" lvl="1" indent="0">
              <a:buNone/>
            </a:pPr>
            <a:endParaRPr lang="en-US" dirty="0">
              <a:solidFill>
                <a:srgbClr val="5009B5"/>
              </a:solidFill>
            </a:endParaRPr>
          </a:p>
          <a:p>
            <a:pPr marL="0" indent="0">
              <a:buNone/>
            </a:pPr>
            <a:endParaRPr lang="en-US" dirty="0">
              <a:solidFill>
                <a:srgbClr val="5009B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71832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CB34651-3FD2-7F48-AF6D-357CAC696B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0080" y="2076994"/>
            <a:ext cx="6021977" cy="321544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5009B5"/>
                </a:solidFill>
                <a:latin typeface="+mn-lt"/>
              </a:rPr>
              <a:t>Available 24/7/365</a:t>
            </a:r>
          </a:p>
          <a:p>
            <a:r>
              <a:rPr lang="en-US" dirty="0">
                <a:solidFill>
                  <a:srgbClr val="5009B5"/>
                </a:solidFill>
                <a:latin typeface="+mn-lt"/>
              </a:rPr>
              <a:t>No Cost </a:t>
            </a:r>
          </a:p>
          <a:p>
            <a:r>
              <a:rPr lang="en-US" dirty="0">
                <a:solidFill>
                  <a:srgbClr val="5009B5"/>
                </a:solidFill>
                <a:latin typeface="+mn-lt"/>
              </a:rPr>
              <a:t>Confidential</a:t>
            </a:r>
          </a:p>
          <a:p>
            <a:r>
              <a:rPr lang="en-US" dirty="0">
                <a:solidFill>
                  <a:srgbClr val="5009B5"/>
                </a:solidFill>
                <a:latin typeface="+mn-lt"/>
              </a:rPr>
              <a:t>Toll free 877-233-0976</a:t>
            </a:r>
          </a:p>
          <a:p>
            <a:r>
              <a:rPr lang="en-US" dirty="0" err="1">
                <a:solidFill>
                  <a:srgbClr val="5009B5"/>
                </a:solidFill>
                <a:latin typeface="+mn-lt"/>
              </a:rPr>
              <a:t>Carelon</a:t>
            </a:r>
            <a:r>
              <a:rPr lang="en-US" dirty="0">
                <a:solidFill>
                  <a:srgbClr val="5009B5"/>
                </a:solidFill>
                <a:latin typeface="+mn-lt"/>
              </a:rPr>
              <a:t> Wellbeing website: </a:t>
            </a:r>
            <a:r>
              <a:rPr lang="en-US" dirty="0">
                <a:solidFill>
                  <a:srgbClr val="5009B5"/>
                </a:solidFill>
                <a:latin typeface="+mn-lt"/>
                <a:hlinkClick r:id="rId3"/>
              </a:rPr>
              <a:t>www.carelonwellbeing.com/jhp</a:t>
            </a:r>
            <a:r>
              <a:rPr lang="en-US" dirty="0">
                <a:solidFill>
                  <a:srgbClr val="5009B5"/>
                </a:solidFill>
                <a:latin typeface="+mn-lt"/>
              </a:rPr>
              <a:t>  </a:t>
            </a:r>
          </a:p>
          <a:p>
            <a:endParaRPr lang="en-US" dirty="0">
              <a:solidFill>
                <a:srgbClr val="5009B5"/>
              </a:solidFill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7C41336-9000-BC4A-991F-13FEA5D92B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Contact Your EAP</a:t>
            </a:r>
          </a:p>
        </p:txBody>
      </p:sp>
      <p:pic>
        <p:nvPicPr>
          <p:cNvPr id="6" name="Picture 5" descr="cc_wmn_30s_phone operator.jp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209"/>
          <a:stretch/>
        </p:blipFill>
        <p:spPr>
          <a:xfrm>
            <a:off x="7407289" y="1567543"/>
            <a:ext cx="4141583" cy="33310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29502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relon">
  <a:themeElements>
    <a:clrScheme name="Carelon">
      <a:dk1>
        <a:srgbClr val="5009B5"/>
      </a:dk1>
      <a:lt1>
        <a:srgbClr val="FFFFFF"/>
      </a:lt1>
      <a:dk2>
        <a:srgbClr val="231E33"/>
      </a:dk2>
      <a:lt2>
        <a:srgbClr val="E1EDFF"/>
      </a:lt2>
      <a:accent1>
        <a:srgbClr val="5009B5"/>
      </a:accent1>
      <a:accent2>
        <a:srgbClr val="794CFF"/>
      </a:accent2>
      <a:accent3>
        <a:srgbClr val="2B1B49"/>
      </a:accent3>
      <a:accent4>
        <a:srgbClr val="F5F5F5"/>
      </a:accent4>
      <a:accent5>
        <a:srgbClr val="00BBBA"/>
      </a:accent5>
      <a:accent6>
        <a:srgbClr val="44B8F3"/>
      </a:accent6>
      <a:hlink>
        <a:srgbClr val="0F61FE"/>
      </a:hlink>
      <a:folHlink>
        <a:srgbClr val="7030A0"/>
      </a:folHlink>
    </a:clrScheme>
    <a:fontScheme name="Elevance">
      <a:majorFont>
        <a:latin typeface="Elevance Sans Medium"/>
        <a:ea typeface=""/>
        <a:cs typeface=""/>
      </a:majorFont>
      <a:minorFont>
        <a:latin typeface="Elevan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231E3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smtClean="0">
            <a:solidFill>
              <a:schemeClr val="tx2"/>
            </a:solidFill>
          </a:defRPr>
        </a:defPPr>
      </a:lstStyle>
    </a:txDef>
  </a:objectDefaults>
  <a:extraClrSchemeLst/>
  <a:custClrLst>
    <a:custClr name="Purple">
      <a:srgbClr val="5009B5"/>
    </a:custClr>
    <a:custClr name="Light Purple">
      <a:srgbClr val="794CFF"/>
    </a:custClr>
    <a:custClr name="Pale Purple">
      <a:srgbClr val="EBE4FF"/>
    </a:custClr>
    <a:custClr name="Turquoise">
      <a:srgbClr val="00BBBA"/>
    </a:custClr>
    <a:custClr name="Pale Turquoise">
      <a:srgbClr val="D9F5F5"/>
    </a:custClr>
    <a:custClr name="Cyan">
      <a:srgbClr val="44B8F3"/>
    </a:custClr>
    <a:custClr name="Pale Cyan">
      <a:srgbClr val="E1EDFF"/>
    </a:custClr>
    <a:custClr name="Dark Gray">
      <a:srgbClr val="231E33"/>
    </a:custClr>
    <a:custClr name="Pale Gray">
      <a:srgbClr val="F5F5F5"/>
    </a:custClr>
  </a:custClrLst>
  <a:extLst>
    <a:ext uri="{05A4C25C-085E-4340-85A3-A5531E510DB2}">
      <thm15:themeFamily xmlns:thm15="http://schemas.microsoft.com/office/thememl/2012/main" name="Presentation6" id="{429BBD9A-D0FD-D441-86DA-971531B2C3DE}" vid="{D90DB423-D442-0545-8FEF-B4D2262F0D7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levance Sans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34C800FACDC14D827963BB41373A3B" ma:contentTypeVersion="0" ma:contentTypeDescription="Create a new document." ma:contentTypeScope="" ma:versionID="f3fc97c47c1e29c9380429941418d6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A879919-1E6C-43A5-8596-997C9049FE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47D993-B31E-4873-9F10-51B19EEF3D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F7C0A076-1BB0-4104-8BB5-0ECF7CDB5E02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relon</Template>
  <TotalTime>155</TotalTime>
  <Words>471</Words>
  <Application>Microsoft Office PowerPoint</Application>
  <PresentationFormat>Widescreen</PresentationFormat>
  <Paragraphs>94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Elevance Sans Italic</vt:lpstr>
      <vt:lpstr>Elevance Sans Medium</vt:lpstr>
      <vt:lpstr>Arial</vt:lpstr>
      <vt:lpstr>Courier New</vt:lpstr>
      <vt:lpstr>Elevance Sans</vt:lpstr>
      <vt:lpstr>Arial Regular</vt:lpstr>
      <vt:lpstr>Carelon</vt:lpstr>
      <vt:lpstr>think-cell Slide</vt:lpstr>
      <vt:lpstr>The Jefferson Health Plan  Employee Assistance Program Benefits Overview</vt:lpstr>
      <vt:lpstr>The Jefferson Health Plan EAP </vt:lpstr>
      <vt:lpstr>EAP Counseling </vt:lpstr>
      <vt:lpstr>Carelon Wellbeing </vt:lpstr>
      <vt:lpstr>Work/Life Services</vt:lpstr>
      <vt:lpstr>Legal/Financial Services</vt:lpstr>
      <vt:lpstr>ID Theft Protection and Mitigation Enhancement</vt:lpstr>
      <vt:lpstr>Organizational Services</vt:lpstr>
      <vt:lpstr>Contact Your EA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ur presentation template</dc:title>
  <dc:creator>Abbey Bumbledare</dc:creator>
  <cp:lastModifiedBy>Tantau, Blake</cp:lastModifiedBy>
  <cp:revision>39</cp:revision>
  <dcterms:created xsi:type="dcterms:W3CDTF">2022-12-14T19:38:23Z</dcterms:created>
  <dcterms:modified xsi:type="dcterms:W3CDTF">2024-03-07T13:1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34C800FACDC14D827963BB41373A3B</vt:lpwstr>
  </property>
</Properties>
</file>